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tags/tag19.xml" ContentType="application/vnd.openxmlformats-officedocument.presentationml.tags+xml"/>
  <Override PartName="/ppt/notesSlides/notesSlide11.xml" ContentType="application/vnd.openxmlformats-officedocument.presentationml.notesSlide+xml"/>
  <Override PartName="/ppt/tags/tag20.xml" ContentType="application/vnd.openxmlformats-officedocument.presentationml.tags+xml"/>
  <Override PartName="/ppt/notesSlides/notesSlide12.xml" ContentType="application/vnd.openxmlformats-officedocument.presentationml.notesSlide+xml"/>
  <Override PartName="/ppt/tags/tag21.xml" ContentType="application/vnd.openxmlformats-officedocument.presentationml.tags+xml"/>
  <Override PartName="/ppt/notesSlides/notesSlide1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5.xml" ContentType="application/vnd.openxmlformats-officedocument.presentationml.notesSlide+xml"/>
  <Override PartName="/ppt/tags/tag26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sldIdLst>
    <p:sldId id="256" r:id="rId2"/>
    <p:sldId id="257" r:id="rId3"/>
    <p:sldId id="264" r:id="rId4"/>
    <p:sldId id="266" r:id="rId5"/>
    <p:sldId id="268" r:id="rId6"/>
    <p:sldId id="276" r:id="rId7"/>
    <p:sldId id="270" r:id="rId8"/>
    <p:sldId id="269" r:id="rId9"/>
    <p:sldId id="271" r:id="rId10"/>
    <p:sldId id="274" r:id="rId11"/>
    <p:sldId id="275" r:id="rId12"/>
    <p:sldId id="272" r:id="rId13"/>
    <p:sldId id="277" r:id="rId14"/>
    <p:sldId id="259" r:id="rId15"/>
    <p:sldId id="278" r:id="rId16"/>
    <p:sldId id="265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1012"/>
    <a:srgbClr val="FFD100"/>
    <a:srgbClr val="00FE73"/>
    <a:srgbClr val="007CA8"/>
    <a:srgbClr val="D6AD00"/>
    <a:srgbClr val="F6EC36"/>
    <a:srgbClr val="980C0C"/>
    <a:srgbClr val="B08E00"/>
    <a:srgbClr val="750909"/>
    <a:srgbClr val="FBF7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32" autoAdjust="0"/>
    <p:restoredTop sz="94490" autoAdjust="0"/>
  </p:normalViewPr>
  <p:slideViewPr>
    <p:cSldViewPr snapToGrid="0" showGuides="1">
      <p:cViewPr varScale="1">
        <p:scale>
          <a:sx n="121" d="100"/>
          <a:sy n="121" d="100"/>
        </p:scale>
        <p:origin x="83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90D770-57B5-41AE-94A5-8172B3072938}" type="datetimeFigureOut">
              <a:rPr lang="en-US" smtClean="0"/>
              <a:t>5/1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21A22-6757-4DFC-AC52-B0B349051E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114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penguinphotography?utm_source=unsplash&amp;utm_medium=referral&amp;utm_content=creditCopyText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lego?utm_source=unsplash&amp;utm_medium=referral&amp;utm_content=creditCopyText" TargetMode="Externa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5113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F47F71-C29A-E57F-ED72-653309545B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E60173-96ED-1239-626D-E217177D0C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474DB1-E5C8-C34D-314A-EC2F981216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5B7EA8-C47F-B81A-D1B5-2CE8A5D4E3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4279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AD290D-DB8F-EFB9-E803-E7CD1500A8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0E071A-074D-C642-0C2F-BC68ED79CA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8DC7D03-CAAE-41F2-D7A7-33562759A4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61A063-4CC3-E57D-823E-02F113677E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3100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CE30CA-D91D-0652-A1FF-B6B37A6B25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E64E28-24E2-C040-A6AA-EA31AA63DC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E9B5EE-A373-83D7-DA16-83691AC32C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0915E4-D9F6-380A-C24B-C6019FC12A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52983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6CE466-7A51-3452-8A52-68DE978215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CE167F3-CB19-682C-67E4-67436965B7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45BB9B8-DF90-5395-6719-32B00CAC60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06FAEE-0146-F04E-60DE-A37C2048B7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8123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9512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Eric &amp; </a:t>
            </a:r>
            <a:r>
              <a:rPr lang="en-US" dirty="0" err="1">
                <a:hlinkClick r:id="rId3"/>
              </a:rPr>
              <a:t>Nikla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73186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4975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2129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7318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6255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8098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211E9A-8E03-F868-21A5-7F6481B3AC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0E86E0-E977-E979-AA33-EE3CBA7F4E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D71578-7C6A-C5F7-49B5-DAF1ACD92A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DED7A-EF89-46FF-0BD4-39D4DF2A15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17011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AC7FA2-5800-D1F7-9E91-BE48AFE6B4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2B5E594-6A4B-E2FF-F578-4DD3220E20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6FF8A51-E340-1075-7614-1CAF7F6199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C76230-82C9-EE21-3740-F28EF4D1BF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4241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04B148-F48D-A1EC-1FEA-C3A1C22476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4830B69-52A7-49AB-0440-393E38AA27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718904-0BBD-D0FC-A2ED-4F8DAD41FB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1DBCB-9793-7DFB-4EBB-3C977B6884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0746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E3BCC6-3B91-1DE3-98A8-94AA4E59DF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221904-C043-9EF4-F700-B15942C4F8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D4379D-7BD6-4D56-CF69-D83B553046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998943-F93A-C696-3A3A-ABB66B458F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9753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5BF1E-1166-42E4-A650-DA8B4F7A4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E45B50-3542-4823-BBEB-016A3A15D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0FC5B5-1E1F-4F0D-B339-EA77AC1BB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491C48-D9A0-4212-BCF5-162DC3A6DE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4B34A6-D8EB-4985-AFC2-02935CB5B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435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58ECF-D4A1-455D-9C89-5A8918AFA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D0D2A3-2723-4E51-91B3-96FFD9473F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EA93C8-8A6A-48B8-B7B4-54AC10D34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ABC066-172F-47A4-8A21-C259819B8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0ADF40-0E2A-4CEA-BE91-AD2B23CCE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357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79E898-53E5-4DB6-8E1F-441A34BE95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A75BBB-D183-48AD-B055-BEDA3A1886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837008-1508-4D8A-AFCC-DD48481AE4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F37FAC-F0B4-471F-B51A-D1C1468AC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7B634-79C3-488C-BF4B-4BC20173C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002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5FFCFD5-7549-46DE-99AE-A249D5D5F3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7915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BFE13E35-06C7-4AAE-AA3F-972308AF3A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300B4D-EA0D-4DD5-92FE-9AE5CDD9248C}"/>
              </a:ext>
            </a:extLst>
          </p:cNvPr>
          <p:cNvSpPr/>
          <p:nvPr userDrawn="1"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D3AD22B-25E4-4680-8484-6D885B9CCEE8}"/>
              </a:ext>
            </a:extLst>
          </p:cNvPr>
          <p:cNvSpPr/>
          <p:nvPr userDrawn="1"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EED8CC-574A-4170-AB23-424B7F5BD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5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8B05A6-6B64-4F04-A952-8081607C02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798E3A-8CEB-4709-9B49-E0C39D418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64243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43404-9A57-4735-ACBB-7108D1A42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0564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0BC0DB-6472-43BB-ABA8-D8F66889E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6A6C4A-7E58-4AE3-A079-EA1D8F7E5D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3E6C5A-FADC-4464-B574-84BE9A9AE8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D5AB64-3B8F-469A-9E9D-31AF0A673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44728-1BF7-442A-8B14-27772F7F2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073B3-B0D0-4D5C-92E7-2AAFB805B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5FC71F-EE36-48B6-8807-2B48ADDC14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774ED-94F7-48EB-BB14-292A9DEEAC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125242-488C-4F35-9C69-034559477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5215A4-C697-4853-B389-438814682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855D4F-3EC5-48E5-93CF-5B3955743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517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5FD3B-62B2-40A7-9C5E-D59A563B8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4B52F2-0C45-40FA-BA05-6D71C7675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3162A5-558A-4178-A596-17F9AF8950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E18D29-500B-4D5C-84EE-272E40FA2C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8AE882-0C6C-4945-9BD8-8C7D92F8A4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AFC0EB-3EF1-49E9-9D2B-5BC44206CE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879882-1555-42E6-BADE-2724267B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F01C58-BCC5-4D09-986E-2B2C179B6A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777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00A9B-3C47-40D5-B012-97B76E52F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CFC465-660A-4C1D-BADB-F3AC3396EA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1BCC98-DE68-44EC-840A-9FB43DB0E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09EF7D-6C8E-4283-BB47-AA9AB6DB1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9572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42AA79-F984-4422-BF6F-50883D79C8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D2003D-CE92-47E4-8106-E66ED1BB9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63EB9E-00B9-4AB1-BC48-99741F2FC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162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E5B6F4-ADD4-4797-8738-409BE6538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2E08F3-F99C-4CB5-8E61-6D9945F55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1CE58-44DA-48F3-ADE9-ED905CAD55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6EB04A-137F-416C-9B0B-195B39A68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75602A-70AE-46FE-89FD-5EA00F396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F55F41-E685-4D3D-9929-3E02B7233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963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18340-4AF0-4FF0-8817-AE7B28572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FFB86DB-D51B-4F95-A82B-E19F9D7364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60E2CC-1033-48AC-9E85-26A7C2E898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5152D4-B87B-4D90-9451-5EA4B577FD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E855-F194-46C7-B1A7-F4AB5C0AA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DD6947-6438-4AB6-958F-A11FF5ED6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015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1C388-EB4B-48EF-9782-5EF82E15A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73655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6704376-6210-4E3A-9786-1426DDE0A94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0A06BC-D081-497A-9E69-9C9229194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1365F-4FB0-4D50-AD30-EB300A5FDD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4575C3-6B77-45F9-8BB3-CF2AEE26EF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FB4E16-9F6A-4AE3-A484-182F2B672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B73065-0481-485F-8A72-5FC7E24E89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37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5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7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A50BD54-6EF0-41DB-8B78-7B3979203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9830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A0CD0628-BE93-4E93-89A1-049CA0385C47}"/>
              </a:ext>
            </a:extLst>
          </p:cNvPr>
          <p:cNvGrpSpPr/>
          <p:nvPr/>
        </p:nvGrpSpPr>
        <p:grpSpPr>
          <a:xfrm>
            <a:off x="-15587" y="0"/>
            <a:ext cx="12430009" cy="6858000"/>
            <a:chOff x="-238009" y="0"/>
            <a:chExt cx="12430009" cy="68580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CF390EA-F541-42AC-A191-9D66726DD8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19200" y="0"/>
              <a:ext cx="10972800" cy="6858000"/>
            </a:xfrm>
            <a:prstGeom prst="rect">
              <a:avLst/>
            </a:prstGeom>
          </p:spPr>
        </p:pic>
        <p:pic>
          <p:nvPicPr>
            <p:cNvPr id="11" name="Picture 10" descr="Background pattern&#10;&#10;Description automatically generated">
              <a:extLst>
                <a:ext uri="{FF2B5EF4-FFF2-40B4-BE49-F238E27FC236}">
                  <a16:creationId xmlns:a16="http://schemas.microsoft.com/office/drawing/2014/main" id="{ED9046E5-1194-4C10-B843-3F7C0E36AC5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238009" y="0"/>
              <a:ext cx="10972800" cy="6858000"/>
            </a:xfrm>
            <a:prstGeom prst="rect">
              <a:avLst/>
            </a:prstGeom>
          </p:spPr>
        </p:pic>
      </p:grpSp>
      <p:sp>
        <p:nvSpPr>
          <p:cNvPr id="19" name="Rectángulo 6175">
            <a:extLst>
              <a:ext uri="{FF2B5EF4-FFF2-40B4-BE49-F238E27FC236}">
                <a16:creationId xmlns:a16="http://schemas.microsoft.com/office/drawing/2014/main" id="{EFE57DC7-03CB-4F7C-BE5A-FBAC21B16E13}"/>
              </a:ext>
            </a:extLst>
          </p:cNvPr>
          <p:cNvSpPr/>
          <p:nvPr/>
        </p:nvSpPr>
        <p:spPr>
          <a:xfrm>
            <a:off x="0" y="4521831"/>
            <a:ext cx="12214702" cy="23876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任意多边形: 形状 16">
            <a:extLst>
              <a:ext uri="{FF2B5EF4-FFF2-40B4-BE49-F238E27FC236}">
                <a16:creationId xmlns:a16="http://schemas.microsoft.com/office/drawing/2014/main" id="{31A823D7-1B88-4F38-BE76-926B73DB954B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任意多边形: 形状 16">
            <a:extLst>
              <a:ext uri="{FF2B5EF4-FFF2-40B4-BE49-F238E27FC236}">
                <a16:creationId xmlns:a16="http://schemas.microsoft.com/office/drawing/2014/main" id="{0DD2B3B6-D900-41C8-AFBB-0AC979BBC4E2}"/>
              </a:ext>
            </a:extLst>
          </p:cNvPr>
          <p:cNvSpPr/>
          <p:nvPr/>
        </p:nvSpPr>
        <p:spPr>
          <a:xfrm>
            <a:off x="9464634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7BB768-0467-477F-8D3E-28FA30DF6F0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F5C2D4-9F4F-49E8-A23F-5F779843B43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24A43240-638F-4F66-B4D2-15C86DC2B919}"/>
              </a:ext>
            </a:extLst>
          </p:cNvPr>
          <p:cNvSpPr/>
          <p:nvPr/>
        </p:nvSpPr>
        <p:spPr>
          <a:xfrm>
            <a:off x="834056" y="1089635"/>
            <a:ext cx="10523889" cy="4168165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ángulo 12">
            <a:extLst>
              <a:ext uri="{FF2B5EF4-FFF2-40B4-BE49-F238E27FC236}">
                <a16:creationId xmlns:a16="http://schemas.microsoft.com/office/drawing/2014/main" id="{2196B0D9-D472-45E7-B1FD-7389D45039D1}"/>
              </a:ext>
            </a:extLst>
          </p:cNvPr>
          <p:cNvSpPr/>
          <p:nvPr/>
        </p:nvSpPr>
        <p:spPr>
          <a:xfrm>
            <a:off x="1524000" y="2134231"/>
            <a:ext cx="5465605" cy="2123658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endParaRPr lang="en-US" sz="6600" b="1" dirty="0">
              <a:solidFill>
                <a:srgbClr val="D01012"/>
              </a:solidFill>
              <a:latin typeface="Segoe UI" panose="020B0502040204020203" pitchFamily="34" charset="0"/>
              <a:ea typeface="Source Sans Pro Semibold" panose="020B0603030403020204" pitchFamily="34" charset="0"/>
              <a:cs typeface="Segoe UI" panose="020B0502040204020203" pitchFamily="34" charset="0"/>
            </a:endParaRPr>
          </a:p>
          <a:p>
            <a:endParaRPr lang="en-US" sz="6600" b="1" dirty="0">
              <a:solidFill>
                <a:srgbClr val="D01012"/>
              </a:solidFill>
              <a:latin typeface="Segoe UI" panose="020B0502040204020203" pitchFamily="34" charset="0"/>
              <a:ea typeface="Source Sans Pro Semibold" panose="020B0603030403020204" pitchFamily="34" charset="0"/>
              <a:cs typeface="Segoe UI" panose="020B05020402040202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6643245-3059-3E84-0A97-CCDD336AE831}"/>
              </a:ext>
            </a:extLst>
          </p:cNvPr>
          <p:cNvSpPr txBox="1">
            <a:spLocks/>
          </p:cNvSpPr>
          <p:nvPr/>
        </p:nvSpPr>
        <p:spPr>
          <a:xfrm>
            <a:off x="6350221" y="1775566"/>
            <a:ext cx="4846017" cy="27845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b="1">
                <a:solidFill>
                  <a:schemeClr val="tx1">
                    <a:lumMod val="75000"/>
                    <a:lumOff val="25000"/>
                  </a:schemeClr>
                </a:solidFill>
                <a:latin typeface="Nanum Pen Script" panose="03040600000000000000" pitchFamily="66" charset="-127"/>
                <a:ea typeface="Nanum Pen Script" panose="03040600000000000000" pitchFamily="66" charset="-127"/>
                <a:cs typeface="Segoe UI" panose="020B0502040204020203" pitchFamily="34" charset="0"/>
              </a:rPr>
              <a:t>Presented By M6: </a:t>
            </a:r>
            <a:endParaRPr lang="en-US" sz="2800" b="1" dirty="0">
              <a:solidFill>
                <a:schemeClr val="tx1">
                  <a:lumMod val="75000"/>
                  <a:lumOff val="25000"/>
                </a:schemeClr>
              </a:solidFill>
              <a:latin typeface="Nanum Pen Script" panose="03040600000000000000" pitchFamily="66" charset="-127"/>
              <a:ea typeface="Nanum Pen Script" panose="03040600000000000000" pitchFamily="66" charset="-127"/>
              <a:cs typeface="Segoe UI" panose="020B0502040204020203" pitchFamily="34" charset="0"/>
            </a:endParaRP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Nanum Pen Script" panose="03040600000000000000" pitchFamily="66" charset="-127"/>
                <a:ea typeface="Nanum Pen Script" panose="03040600000000000000" pitchFamily="66" charset="-127"/>
                <a:cs typeface="Segoe UI" panose="020B0502040204020203" pitchFamily="34" charset="0"/>
              </a:rPr>
              <a:t>VINIT VIJAYKUMAR ADKE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Nanum Pen Script" panose="03040600000000000000" pitchFamily="66" charset="-127"/>
                <a:ea typeface="Nanum Pen Script" panose="03040600000000000000" pitchFamily="66" charset="-127"/>
                <a:cs typeface="Segoe UI" panose="020B0502040204020203" pitchFamily="34" charset="0"/>
              </a:rPr>
              <a:t>YASH SANJAYKUMAR PARDESHI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Nanum Pen Script" panose="03040600000000000000" pitchFamily="66" charset="-127"/>
                <a:ea typeface="Nanum Pen Script" panose="03040600000000000000" pitchFamily="66" charset="-127"/>
                <a:cs typeface="Segoe UI" panose="020B0502040204020203" pitchFamily="34" charset="0"/>
              </a:rPr>
              <a:t>JASWANTH GIRIDHARGOPALAN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Nanum Pen Script" panose="03040600000000000000" pitchFamily="66" charset="-127"/>
                <a:ea typeface="Nanum Pen Script" panose="03040600000000000000" pitchFamily="66" charset="-127"/>
                <a:cs typeface="Segoe UI" panose="020B0502040204020203" pitchFamily="34" charset="0"/>
              </a:rPr>
              <a:t>DHIRRAJ SURESH KUMAR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2400" i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4747AD6-E4D9-9FA9-E8DC-FF876530F6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7251" y="1242220"/>
            <a:ext cx="4990607" cy="3851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5711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7FA55F-AF21-BAAF-EC93-CD6F25C9F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D3566B8-491B-E267-46B6-582042AFA7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A215C56-4262-0E5B-90B4-DCD9DDB518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92CE0409-385C-AFBE-F01B-09E672811957}"/>
              </a:ext>
            </a:extLst>
          </p:cNvPr>
          <p:cNvSpPr/>
          <p:nvPr/>
        </p:nvSpPr>
        <p:spPr>
          <a:xfrm>
            <a:off x="-11351" y="4504429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2074F228-2B61-C9F5-62C6-80DE955A8574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0C3213D6-CAE2-A7C6-22EA-59FC622A292C}"/>
              </a:ext>
            </a:extLst>
          </p:cNvPr>
          <p:cNvSpPr/>
          <p:nvPr/>
        </p:nvSpPr>
        <p:spPr>
          <a:xfrm>
            <a:off x="807538" y="1090922"/>
            <a:ext cx="6833921" cy="4811124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9DE9191-4B16-A509-EE88-188689D90F91}"/>
              </a:ext>
            </a:extLst>
          </p:cNvPr>
          <p:cNvSpPr/>
          <p:nvPr/>
        </p:nvSpPr>
        <p:spPr>
          <a:xfrm>
            <a:off x="1104477" y="0"/>
            <a:ext cx="1175537" cy="731829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51DC214-FB9E-1248-33A2-0907611C5E00}"/>
              </a:ext>
            </a:extLst>
          </p:cNvPr>
          <p:cNvSpPr/>
          <p:nvPr/>
        </p:nvSpPr>
        <p:spPr>
          <a:xfrm>
            <a:off x="1104477" y="22128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5B939809-D27E-AE81-30D0-6F58795C5782}"/>
              </a:ext>
            </a:extLst>
          </p:cNvPr>
          <p:cNvSpPr/>
          <p:nvPr/>
        </p:nvSpPr>
        <p:spPr>
          <a:xfrm>
            <a:off x="1327287" y="4650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72D9AC68-4AF2-08FB-189D-27EFBAE35F57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98503EE1-5C06-BA1F-CFC7-E79CD6DAD653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B2630D6C-90DF-882E-B5FE-66B33A4A5B6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FB8C8886-7FEC-E4BD-BE50-2824EC1019F9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3E9B1755-DEF3-99E1-DAA6-E2E46C50707C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58A07DDC-3005-1449-B4B2-098C65F058CB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ED2A0B90-2180-4157-D2C4-9CCADA279B68}"/>
              </a:ext>
            </a:extLst>
          </p:cNvPr>
          <p:cNvSpPr/>
          <p:nvPr/>
        </p:nvSpPr>
        <p:spPr>
          <a:xfrm>
            <a:off x="6522065" y="1318848"/>
            <a:ext cx="5692635" cy="3991705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0BF46B2-0ACE-3529-0E81-0340DB114490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5E1B93A-6088-EDC7-C80E-0391281A69F8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FCE5B8F-F93B-EED3-62AE-5D75451A1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10</a:t>
            </a:fld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7DBACCC-022A-0215-D722-789E3F8A0198}"/>
              </a:ext>
            </a:extLst>
          </p:cNvPr>
          <p:cNvGrpSpPr/>
          <p:nvPr/>
        </p:nvGrpSpPr>
        <p:grpSpPr>
          <a:xfrm>
            <a:off x="1438227" y="625058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E14B192C-11C4-DFAD-13C8-560CFB9BE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B7FFEC62-A326-AE98-4901-F65343266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AAE2C94C-EB7E-CCBF-0423-CE7069C85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E2E8343A-1A47-6479-7C8D-29B7B72B66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0D5170DD-51D1-201A-1B54-51B2245F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731EC36A-540C-D4A4-475E-AFEC00CFD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27602709-A440-149C-18DC-0E139F8ED2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0BDFB5D9-EC27-354C-BA60-98C56EA1B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CF070B0-A63E-2DDD-92FA-0AD621107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CED7713B-B6D2-DC64-0297-37FDCD92C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7922F6E2-724A-A3DF-89E1-FC5D293A00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73061860-C646-5E97-6175-FF79D2987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92D49FA6-0853-DCFC-FD10-9A879F5A5484}"/>
              </a:ext>
            </a:extLst>
          </p:cNvPr>
          <p:cNvSpPr txBox="1">
            <a:spLocks/>
          </p:cNvSpPr>
          <p:nvPr/>
        </p:nvSpPr>
        <p:spPr>
          <a:xfrm>
            <a:off x="843914" y="891853"/>
            <a:ext cx="5655761" cy="51026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2400" i="1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ea typeface="Nanum Pen Script" panose="03040600000000000000" pitchFamily="66" charset="-127"/>
              <a:cs typeface="AkayaKanadaka" panose="02010502080401010103" pitchFamily="2" charset="77"/>
            </a:endParaRP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Length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 -&gt; Strong +</a:t>
            </a:r>
            <a:r>
              <a:rPr lang="en-US" sz="2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ve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  effect. Big Cars perform significantly better than small ones. 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Load Distribution 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-&gt; Front heavy designs slightly outperforms back-heavy ones -&gt; Minimal Effect.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Width -&gt; 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Large axle width greatly increases distance. Most influential factor.. 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Tyre</a:t>
            </a: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 Size 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-&gt; Slightly –</a:t>
            </a:r>
            <a:r>
              <a:rPr lang="en-US" sz="2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ve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 trend. No significant effect.</a:t>
            </a:r>
            <a:endParaRPr lang="en-US" sz="2800" i="1" dirty="0">
              <a:solidFill>
                <a:schemeClr val="tx1">
                  <a:lumMod val="75000"/>
                  <a:lumOff val="25000"/>
                </a:schemeClr>
              </a:solidFill>
              <a:latin typeface="Nanum Pen Script" panose="03040600000000000000" pitchFamily="66" charset="-127"/>
              <a:ea typeface="Nanum Pen Script" panose="03040600000000000000" pitchFamily="66" charset="-127"/>
              <a:cs typeface="Segoe UI" panose="020B0502040204020203" pitchFamily="34" charset="0"/>
            </a:endParaRP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2800" i="1" dirty="0">
              <a:solidFill>
                <a:schemeClr val="tx1">
                  <a:lumMod val="75000"/>
                  <a:lumOff val="25000"/>
                </a:schemeClr>
              </a:solidFill>
              <a:latin typeface="Nanum Pen Script" panose="03040600000000000000" pitchFamily="66" charset="-127"/>
              <a:ea typeface="Nanum Pen Script" panose="03040600000000000000" pitchFamily="66" charset="-127"/>
              <a:cs typeface="Segoe UI" panose="020B0502040204020203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E00761-A476-2CFC-43FB-EEDEBEA0EF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77286" y="2180561"/>
            <a:ext cx="5736606" cy="214234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E38299E-2BE2-E1F9-DA77-A33FBF867C4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16569" y="-719"/>
            <a:ext cx="2987023" cy="1477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4106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747341-9D86-0DB1-1F58-74588855AD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CE0F49B-70F9-A05D-4628-E17D15CA0D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D3566B8-491B-E267-46B6-582042AFA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56077CBD-0F75-9A87-F71F-90BBCFCA8EFD}"/>
              </a:ext>
            </a:extLst>
          </p:cNvPr>
          <p:cNvSpPr/>
          <p:nvPr/>
        </p:nvSpPr>
        <p:spPr>
          <a:xfrm>
            <a:off x="-31261" y="4503557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D49BA8E0-3B88-CF76-FEB2-D2DE94DA0EC8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8EC68D2A-AF90-D537-00B8-DD9E8C536E2B}"/>
              </a:ext>
            </a:extLst>
          </p:cNvPr>
          <p:cNvSpPr/>
          <p:nvPr/>
        </p:nvSpPr>
        <p:spPr>
          <a:xfrm>
            <a:off x="807538" y="1090922"/>
            <a:ext cx="6833921" cy="4811124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BEA052ED-5F47-0969-B926-EDC42CF8206E}"/>
              </a:ext>
            </a:extLst>
          </p:cNvPr>
          <p:cNvSpPr/>
          <p:nvPr/>
        </p:nvSpPr>
        <p:spPr>
          <a:xfrm>
            <a:off x="1104477" y="0"/>
            <a:ext cx="1175537" cy="731829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CED6AA7-D3B7-BD8C-B85A-C1C2FE5BE367}"/>
              </a:ext>
            </a:extLst>
          </p:cNvPr>
          <p:cNvSpPr/>
          <p:nvPr/>
        </p:nvSpPr>
        <p:spPr>
          <a:xfrm>
            <a:off x="1104477" y="22128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D8872170-C8D7-52E9-41C2-12D3971A0CF7}"/>
              </a:ext>
            </a:extLst>
          </p:cNvPr>
          <p:cNvSpPr/>
          <p:nvPr/>
        </p:nvSpPr>
        <p:spPr>
          <a:xfrm>
            <a:off x="1327287" y="4650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AE86F78F-D50C-7B44-FA0E-BACF2308CBC0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23173C36-EDBA-4D1D-67E2-04B4F9E1D701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79C18261-9EF9-6A9B-CE04-6A25EC1D1ED3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D2EC86CA-E0FE-B72F-753B-770BA7921D57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A2A09EF4-7B81-E4C6-A25D-05D6112E293F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4CB9A3D9-AC84-B6F1-B155-C4A185876BA8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4092E826-2E31-F800-F42F-D1952E658709}"/>
              </a:ext>
            </a:extLst>
          </p:cNvPr>
          <p:cNvSpPr/>
          <p:nvPr/>
        </p:nvSpPr>
        <p:spPr>
          <a:xfrm>
            <a:off x="6522065" y="1318848"/>
            <a:ext cx="5692635" cy="3991705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757A0AA-F648-8447-B5E8-FAEDDC5C2167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3D7F1EF-9F10-6828-3744-2E730487E44B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CD95862-D90A-D780-C379-9C9EC0BA2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A45A79C-E282-104E-77E0-8AC2C0A4B347}"/>
              </a:ext>
            </a:extLst>
          </p:cNvPr>
          <p:cNvGrpSpPr/>
          <p:nvPr/>
        </p:nvGrpSpPr>
        <p:grpSpPr>
          <a:xfrm>
            <a:off x="1438227" y="625058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4A82D3D1-DD75-E1DD-2E69-9D090FC470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FBA9A272-9D7C-4CE0-9B15-61A88501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E0867157-0CC0-D6D1-18FE-3B26045B8C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8188023F-0939-A6AE-483F-9F4DB08FE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E9012F9D-228F-45C4-C01D-99FE20831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C3635BC3-E452-7D9F-332B-774F2F4597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BA059A31-6A71-A863-AB43-C7CE86D44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EC75D48D-89FC-6B55-C670-25774D9D94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91B9F2AC-2676-292F-0F1F-2078557E3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D2752361-F226-AFBE-9F8A-3F8C2AA1D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83A177B2-0DD3-4008-1979-35EA5E7F1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D69D7D55-D315-9D83-E63A-9827652A67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A6E96467-D129-A0A3-68AD-CE4956E001BE}"/>
              </a:ext>
            </a:extLst>
          </p:cNvPr>
          <p:cNvSpPr txBox="1">
            <a:spLocks/>
          </p:cNvSpPr>
          <p:nvPr/>
        </p:nvSpPr>
        <p:spPr>
          <a:xfrm>
            <a:off x="1033745" y="1067504"/>
            <a:ext cx="5457060" cy="49008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endParaRPr lang="en-US" sz="2400" i="1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ea typeface="Nanum Pen Script" panose="03040600000000000000" pitchFamily="66" charset="-127"/>
              <a:cs typeface="AkayaKanadaka" panose="02010502080401010103" pitchFamily="2" charset="77"/>
            </a:endParaRP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Length * Load Distribution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: Interaction exists, but not very strong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100" i="1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ea typeface="Nanum Pen Script" panose="03040600000000000000" pitchFamily="66" charset="-127"/>
              <a:cs typeface="AkayaKanadaka" panose="02010502080401010103" pitchFamily="2" charset="77"/>
            </a:endParaRP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Length * Width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: Strong Interaction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Length * </a:t>
            </a:r>
            <a:r>
              <a:rPr lang="en-US" sz="2400" b="1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Tyre</a:t>
            </a: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 Size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: Slight Interaction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Load Distribution * Width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: Significant Interaction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Load Distribution * </a:t>
            </a:r>
            <a:r>
              <a:rPr lang="en-US" sz="2400" b="1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Tyre</a:t>
            </a: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 Size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: Minor Interaction. 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Width * </a:t>
            </a:r>
            <a:r>
              <a:rPr lang="en-US" sz="2400" b="1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Tyre</a:t>
            </a: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 Size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: Small Interaction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2400" i="1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ea typeface="Nanum Pen Script" panose="03040600000000000000" pitchFamily="66" charset="-127"/>
              <a:cs typeface="AkayaKanadaka" panose="02010502080401010103" pitchFamily="2" charset="77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31D662C-DA74-11E8-1557-783234652C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16548" y="1634546"/>
            <a:ext cx="5054979" cy="328041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F115B8-9BFF-7848-3C1F-7034396E5A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62241" y="-1442"/>
            <a:ext cx="3529759" cy="1398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4216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EA52FD-059D-599E-45F2-CEBCC1C7A0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BC999D4-898B-BDA2-119B-D3D9938865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BBF3BB9-651D-AC97-B893-36CACF4D7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E5E892F-0606-E4FC-ECAF-2F27976032BD}"/>
              </a:ext>
            </a:extLst>
          </p:cNvPr>
          <p:cNvSpPr/>
          <p:nvPr/>
        </p:nvSpPr>
        <p:spPr>
          <a:xfrm>
            <a:off x="0" y="4470400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466C5B09-7722-8CF4-1BE1-8CD120FA75E9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E086E331-3DEC-4849-E861-499A1C236135}"/>
              </a:ext>
            </a:extLst>
          </p:cNvPr>
          <p:cNvSpPr/>
          <p:nvPr/>
        </p:nvSpPr>
        <p:spPr>
          <a:xfrm>
            <a:off x="807538" y="1090922"/>
            <a:ext cx="6833921" cy="4811124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0874205-B834-9126-D2E2-2FEE7C62F4E4}"/>
              </a:ext>
            </a:extLst>
          </p:cNvPr>
          <p:cNvSpPr/>
          <p:nvPr/>
        </p:nvSpPr>
        <p:spPr>
          <a:xfrm>
            <a:off x="1104477" y="0"/>
            <a:ext cx="1175537" cy="731829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BAA5F3F-3504-2C0C-5EE0-2D3950496EC3}"/>
              </a:ext>
            </a:extLst>
          </p:cNvPr>
          <p:cNvSpPr/>
          <p:nvPr/>
        </p:nvSpPr>
        <p:spPr>
          <a:xfrm>
            <a:off x="1104477" y="22128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2EFA27-B9B9-E746-91F2-0562EC644671}"/>
              </a:ext>
            </a:extLst>
          </p:cNvPr>
          <p:cNvSpPr/>
          <p:nvPr/>
        </p:nvSpPr>
        <p:spPr>
          <a:xfrm>
            <a:off x="1327287" y="4650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52E27EDD-C0FA-3F07-933A-9A54B4B02F29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A8213317-A377-DDEF-A6B4-BDEF31050393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A4BD71D-083A-DB55-1575-E1777BE7EF07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1D1A57E7-9C63-3966-C31E-6A1F5C098132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D2757863-966B-7A17-EFF5-997558DBAC00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ECFA939C-B1F4-79C0-A224-B01CA77F4556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9A859EEE-3BE5-B8C4-C67A-12DFA680D3B5}"/>
              </a:ext>
            </a:extLst>
          </p:cNvPr>
          <p:cNvSpPr/>
          <p:nvPr/>
        </p:nvSpPr>
        <p:spPr>
          <a:xfrm>
            <a:off x="6558939" y="1318848"/>
            <a:ext cx="5655761" cy="4622885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4685E60-0AAD-47C6-8111-89D3C1D68C33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8607BF53-2F4F-5B83-9CA9-1B74C76D4418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A4BC68F-52F2-47A0-790F-B54737B51D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B705208-97C3-0E9B-B0F4-75D61C8A3906}"/>
              </a:ext>
            </a:extLst>
          </p:cNvPr>
          <p:cNvGrpSpPr/>
          <p:nvPr/>
        </p:nvGrpSpPr>
        <p:grpSpPr>
          <a:xfrm>
            <a:off x="1438227" y="625058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F902311C-CA76-19C7-5815-523A1BAEC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6949828C-3065-E3F3-C520-169324A48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ED6C8CD8-14F9-7704-6195-237C7D131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FA46D0FC-D2DA-0B47-B005-7394A2E4A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C432662E-25D6-6C42-04C2-DA9366EE9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BE260AAC-FC98-9384-2482-C31AD0793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24D5C50C-9921-574E-ECA8-5AF123BA8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6572FDD2-D58D-3D2B-2A2C-0277EA0AF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5608F3C8-F24E-DA86-7042-771D480BF4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A7AB9C4C-7648-7229-5E6C-58246F422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29875500-CC23-853B-7EB7-2D496D57F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5369D4FC-E8EC-C4F6-F737-67A016E1F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C46350AC-BD52-1A8C-6FBC-4AB961C2F69C}"/>
              </a:ext>
            </a:extLst>
          </p:cNvPr>
          <p:cNvSpPr txBox="1">
            <a:spLocks/>
          </p:cNvSpPr>
          <p:nvPr/>
        </p:nvSpPr>
        <p:spPr>
          <a:xfrm>
            <a:off x="866304" y="2266459"/>
            <a:ext cx="5655761" cy="36910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Big Length + Back Load + Large Width + Small </a:t>
            </a:r>
            <a:r>
              <a:rPr lang="en-US" sz="2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Tyres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 = </a:t>
            </a: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151.33 </a:t>
            </a:r>
            <a:r>
              <a:rPr lang="en-US" sz="2400" b="1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cms</a:t>
            </a: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 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2400" i="1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ea typeface="Nanum Pen Script" panose="03040600000000000000" pitchFamily="66" charset="-127"/>
              <a:cs typeface="AkayaKanadaka" panose="02010502080401010103" pitchFamily="2" charset="77"/>
            </a:endParaRP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Big Length + Large Width -&gt; Main effects 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Small </a:t>
            </a:r>
            <a:r>
              <a:rPr lang="en-US" sz="2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Tyres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 -&gt; Regression &amp; Interaction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Back Load -&gt; Enhances performance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2800" i="1" dirty="0">
              <a:solidFill>
                <a:schemeClr val="tx1">
                  <a:lumMod val="75000"/>
                  <a:lumOff val="25000"/>
                </a:schemeClr>
              </a:solidFill>
              <a:latin typeface="Nanum Pen Script" panose="03040600000000000000" pitchFamily="66" charset="-127"/>
              <a:ea typeface="Nanum Pen Script" panose="03040600000000000000" pitchFamily="66" charset="-127"/>
              <a:cs typeface="Segoe UI" panose="020B0502040204020203" pitchFamily="34" charset="0"/>
            </a:endParaRP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2800" i="1" dirty="0">
              <a:solidFill>
                <a:schemeClr val="tx1">
                  <a:lumMod val="75000"/>
                  <a:lumOff val="25000"/>
                </a:schemeClr>
              </a:solidFill>
              <a:latin typeface="Nanum Pen Script" panose="03040600000000000000" pitchFamily="66" charset="-127"/>
              <a:ea typeface="Nanum Pen Script" panose="03040600000000000000" pitchFamily="66" charset="-127"/>
              <a:cs typeface="Segoe UI" panose="020B05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58FE894-5B71-50F2-124B-C2FC30C01E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91910" y="1756972"/>
            <a:ext cx="5334544" cy="37466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B520378-29C6-6371-6A7A-F3CC885AE28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16569" y="-16706"/>
            <a:ext cx="2998131" cy="1398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1541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D73EEE-4081-C8CC-8FCC-E581ED460D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68017C6-D869-2645-A25C-688D85F8E7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BC999D4-898B-BDA2-119B-D3D9938865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5798BFA7-9056-F010-52DC-0E2AF0CFFF89}"/>
              </a:ext>
            </a:extLst>
          </p:cNvPr>
          <p:cNvSpPr/>
          <p:nvPr/>
        </p:nvSpPr>
        <p:spPr>
          <a:xfrm>
            <a:off x="0" y="4470400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B6D33783-F15C-2C42-4916-CFEDBC54BA69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8805C0B-02AE-BDFF-8940-DB8955AA416B}"/>
              </a:ext>
            </a:extLst>
          </p:cNvPr>
          <p:cNvSpPr/>
          <p:nvPr/>
        </p:nvSpPr>
        <p:spPr>
          <a:xfrm>
            <a:off x="1104477" y="0"/>
            <a:ext cx="1175537" cy="731829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A1D541C-1962-C51C-132B-A290BF382505}"/>
              </a:ext>
            </a:extLst>
          </p:cNvPr>
          <p:cNvSpPr/>
          <p:nvPr/>
        </p:nvSpPr>
        <p:spPr>
          <a:xfrm>
            <a:off x="1104477" y="22128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02D9391E-8C8F-F876-EAC8-0EC79C5DD89D}"/>
              </a:ext>
            </a:extLst>
          </p:cNvPr>
          <p:cNvSpPr/>
          <p:nvPr/>
        </p:nvSpPr>
        <p:spPr>
          <a:xfrm>
            <a:off x="1327287" y="4650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A5F46FDB-C65E-EC74-6524-36094A569660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81947D55-929E-7687-A830-9987E7AC78B8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36BAE59-1298-2F75-6EE1-4A7D742E5566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D77F9932-39ED-EEBE-E4D7-715A9FF401AC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4B8E13FD-9753-8314-3147-723CFB4D5CCA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4B73AF47-D90C-8F7D-BE40-787133E8BACF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16777BB-CD19-8E32-C683-401FC43538EA}"/>
              </a:ext>
            </a:extLst>
          </p:cNvPr>
          <p:cNvSpPr/>
          <p:nvPr/>
        </p:nvSpPr>
        <p:spPr>
          <a:xfrm>
            <a:off x="333829" y="1318848"/>
            <a:ext cx="11880872" cy="4622885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4A3D527-BE3B-4F60-F595-76DEEC0C7C7D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D8F61D6-A830-F805-6C1B-D89020A10F2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F53413-28DB-64DD-4B74-4B30A10F04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13</a:t>
            </a:fld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EE4E52A-363E-6094-9D64-BE1650A5CDE2}"/>
              </a:ext>
            </a:extLst>
          </p:cNvPr>
          <p:cNvGrpSpPr/>
          <p:nvPr/>
        </p:nvGrpSpPr>
        <p:grpSpPr>
          <a:xfrm>
            <a:off x="1438227" y="625058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FF49CCFD-992C-AB3C-8D57-E650F55E5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4C7D1ADD-49B2-72D9-2B28-E1C7BE8A8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59464B12-813E-3A28-BFA9-D1A6D973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3148A471-DDCF-87B9-21FC-4754503F0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D5D6427E-ED5E-C1BD-539A-9486DB719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80E54CD-2476-5CC8-EDA8-BBF22B42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43D0E93C-F890-AD9D-DDD0-1E5C874A9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FE9803EB-EADA-E7B8-540A-D28180F40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85ACD467-925A-E08C-998A-3BDAA727F4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04713C0A-D739-BF4A-FD60-8C92157B3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EFE97CB6-0F26-1D0B-8C0F-D6A1A92A5B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9937EBE3-2C09-89BC-D3F3-00D724499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534D955C-49B4-19D7-E0DE-9F9FC1754781}"/>
              </a:ext>
            </a:extLst>
          </p:cNvPr>
          <p:cNvSpPr txBox="1">
            <a:spLocks/>
          </p:cNvSpPr>
          <p:nvPr/>
        </p:nvSpPr>
        <p:spPr>
          <a:xfrm>
            <a:off x="866304" y="2266459"/>
            <a:ext cx="5655761" cy="36910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2800" i="1" dirty="0">
              <a:solidFill>
                <a:schemeClr val="tx1">
                  <a:lumMod val="75000"/>
                  <a:lumOff val="25000"/>
                </a:schemeClr>
              </a:solidFill>
              <a:latin typeface="Nanum Pen Script" panose="03040600000000000000" pitchFamily="66" charset="-127"/>
              <a:ea typeface="Nanum Pen Script" panose="03040600000000000000" pitchFamily="66" charset="-127"/>
              <a:cs typeface="Segoe UI" panose="020B0502040204020203" pitchFamily="34" charset="0"/>
            </a:endParaRP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2800" i="1" dirty="0">
              <a:solidFill>
                <a:schemeClr val="tx1">
                  <a:lumMod val="75000"/>
                  <a:lumOff val="25000"/>
                </a:schemeClr>
              </a:solidFill>
              <a:latin typeface="Nanum Pen Script" panose="03040600000000000000" pitchFamily="66" charset="-127"/>
              <a:ea typeface="Nanum Pen Script" panose="03040600000000000000" pitchFamily="66" charset="-127"/>
              <a:cs typeface="Segoe UI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7842356-CC02-75CE-9BD1-4F5657F53D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4477" y="2160711"/>
            <a:ext cx="10885249" cy="307244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64F7080-A88B-9158-0F68-937D151A1C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16569" y="-1"/>
            <a:ext cx="3014327" cy="1324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8361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F16308-767D-414C-B152-8F6203C22A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3953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E358C55-9935-4BDB-8C4C-21DEEEEBE36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24" name="Freeform 46">
            <a:extLst>
              <a:ext uri="{FF2B5EF4-FFF2-40B4-BE49-F238E27FC236}">
                <a16:creationId xmlns:a16="http://schemas.microsoft.com/office/drawing/2014/main" id="{A3A94A0F-AFE9-42B1-BA38-5020B02B1A97}"/>
              </a:ext>
            </a:extLst>
          </p:cNvPr>
          <p:cNvSpPr/>
          <p:nvPr/>
        </p:nvSpPr>
        <p:spPr>
          <a:xfrm>
            <a:off x="635282" y="4628781"/>
            <a:ext cx="3369693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27" name="Freeform 46">
            <a:extLst>
              <a:ext uri="{FF2B5EF4-FFF2-40B4-BE49-F238E27FC236}">
                <a16:creationId xmlns:a16="http://schemas.microsoft.com/office/drawing/2014/main" id="{18213331-F60D-4BEB-A12A-782E863E8E9D}"/>
              </a:ext>
            </a:extLst>
          </p:cNvPr>
          <p:cNvSpPr/>
          <p:nvPr/>
        </p:nvSpPr>
        <p:spPr>
          <a:xfrm>
            <a:off x="595055" y="3854179"/>
            <a:ext cx="3638106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28" name="Freeform 46">
            <a:extLst>
              <a:ext uri="{FF2B5EF4-FFF2-40B4-BE49-F238E27FC236}">
                <a16:creationId xmlns:a16="http://schemas.microsoft.com/office/drawing/2014/main" id="{46531198-66DA-41DB-A121-9871C4FC14E5}"/>
              </a:ext>
            </a:extLst>
          </p:cNvPr>
          <p:cNvSpPr/>
          <p:nvPr/>
        </p:nvSpPr>
        <p:spPr>
          <a:xfrm>
            <a:off x="564241" y="3062762"/>
            <a:ext cx="4843709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29" name="Freeform 46">
            <a:extLst>
              <a:ext uri="{FF2B5EF4-FFF2-40B4-BE49-F238E27FC236}">
                <a16:creationId xmlns:a16="http://schemas.microsoft.com/office/drawing/2014/main" id="{81E9A37E-D40C-4428-ACA1-919FE3DD777C}"/>
              </a:ext>
            </a:extLst>
          </p:cNvPr>
          <p:cNvSpPr/>
          <p:nvPr/>
        </p:nvSpPr>
        <p:spPr>
          <a:xfrm>
            <a:off x="564241" y="2249072"/>
            <a:ext cx="5213988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30" name="Freeform 46">
            <a:extLst>
              <a:ext uri="{FF2B5EF4-FFF2-40B4-BE49-F238E27FC236}">
                <a16:creationId xmlns:a16="http://schemas.microsoft.com/office/drawing/2014/main" id="{EC7B5826-1D50-4CD4-AA3A-A3DC3BA6DC53}"/>
              </a:ext>
            </a:extLst>
          </p:cNvPr>
          <p:cNvSpPr/>
          <p:nvPr/>
        </p:nvSpPr>
        <p:spPr>
          <a:xfrm>
            <a:off x="564241" y="1432964"/>
            <a:ext cx="5764930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9F7762B-30A3-4914-8456-7BE0162E27E2}"/>
              </a:ext>
            </a:extLst>
          </p:cNvPr>
          <p:cNvGrpSpPr/>
          <p:nvPr/>
        </p:nvGrpSpPr>
        <p:grpSpPr>
          <a:xfrm>
            <a:off x="16177" y="843643"/>
            <a:ext cx="12214702" cy="464457"/>
            <a:chOff x="16177" y="-27807"/>
            <a:chExt cx="12214702" cy="464457"/>
          </a:xfrm>
          <a:solidFill>
            <a:srgbClr val="D01012"/>
          </a:solidFill>
        </p:grpSpPr>
        <p:sp>
          <p:nvSpPr>
            <p:cNvPr id="18" name="任意多边形: 形状 16">
              <a:extLst>
                <a:ext uri="{FF2B5EF4-FFF2-40B4-BE49-F238E27FC236}">
                  <a16:creationId xmlns:a16="http://schemas.microsoft.com/office/drawing/2014/main" id="{81D8055E-6ABD-47A7-B164-18FE525C1818}"/>
                </a:ext>
              </a:extLst>
            </p:cNvPr>
            <p:cNvSpPr/>
            <p:nvPr/>
          </p:nvSpPr>
          <p:spPr>
            <a:xfrm rot="10800000">
              <a:off x="2746677" y="-27807"/>
              <a:ext cx="2742954" cy="464457"/>
            </a:xfrm>
            <a:custGeom>
              <a:avLst/>
              <a:gdLst>
                <a:gd name="connsiteX0" fmla="*/ 75600 w 2136775"/>
                <a:gd name="connsiteY0" fmla="*/ 0 h 346075"/>
                <a:gd name="connsiteX1" fmla="*/ 279529 w 2136775"/>
                <a:gd name="connsiteY1" fmla="*/ 0 h 346075"/>
                <a:gd name="connsiteX2" fmla="*/ 279529 w 2136775"/>
                <a:gd name="connsiteY2" fmla="*/ 82894 h 346075"/>
                <a:gd name="connsiteX3" fmla="*/ 431929 w 2136775"/>
                <a:gd name="connsiteY3" fmla="*/ 82894 h 346075"/>
                <a:gd name="connsiteX4" fmla="*/ 431929 w 2136775"/>
                <a:gd name="connsiteY4" fmla="*/ 0 h 346075"/>
                <a:gd name="connsiteX5" fmla="*/ 635858 w 2136775"/>
                <a:gd name="connsiteY5" fmla="*/ 0 h 346075"/>
                <a:gd name="connsiteX6" fmla="*/ 635858 w 2136775"/>
                <a:gd name="connsiteY6" fmla="*/ 82894 h 346075"/>
                <a:gd name="connsiteX7" fmla="*/ 788258 w 2136775"/>
                <a:gd name="connsiteY7" fmla="*/ 82894 h 346075"/>
                <a:gd name="connsiteX8" fmla="*/ 788258 w 2136775"/>
                <a:gd name="connsiteY8" fmla="*/ 0 h 346075"/>
                <a:gd name="connsiteX9" fmla="*/ 992187 w 2136775"/>
                <a:gd name="connsiteY9" fmla="*/ 0 h 346075"/>
                <a:gd name="connsiteX10" fmla="*/ 992187 w 2136775"/>
                <a:gd name="connsiteY10" fmla="*/ 82894 h 346075"/>
                <a:gd name="connsiteX11" fmla="*/ 1144587 w 2136775"/>
                <a:gd name="connsiteY11" fmla="*/ 82894 h 346075"/>
                <a:gd name="connsiteX12" fmla="*/ 1144587 w 2136775"/>
                <a:gd name="connsiteY12" fmla="*/ 0 h 346075"/>
                <a:gd name="connsiteX13" fmla="*/ 1348516 w 2136775"/>
                <a:gd name="connsiteY13" fmla="*/ 0 h 346075"/>
                <a:gd name="connsiteX14" fmla="*/ 1348516 w 2136775"/>
                <a:gd name="connsiteY14" fmla="*/ 82894 h 346075"/>
                <a:gd name="connsiteX15" fmla="*/ 1500916 w 2136775"/>
                <a:gd name="connsiteY15" fmla="*/ 82894 h 346075"/>
                <a:gd name="connsiteX16" fmla="*/ 1500916 w 2136775"/>
                <a:gd name="connsiteY16" fmla="*/ 0 h 346075"/>
                <a:gd name="connsiteX17" fmla="*/ 1704845 w 2136775"/>
                <a:gd name="connsiteY17" fmla="*/ 0 h 346075"/>
                <a:gd name="connsiteX18" fmla="*/ 1704845 w 2136775"/>
                <a:gd name="connsiteY18" fmla="*/ 82894 h 346075"/>
                <a:gd name="connsiteX19" fmla="*/ 1857245 w 2136775"/>
                <a:gd name="connsiteY19" fmla="*/ 82894 h 346075"/>
                <a:gd name="connsiteX20" fmla="*/ 1857245 w 2136775"/>
                <a:gd name="connsiteY20" fmla="*/ 0 h 346075"/>
                <a:gd name="connsiteX21" fmla="*/ 2061175 w 2136775"/>
                <a:gd name="connsiteY21" fmla="*/ 0 h 346075"/>
                <a:gd name="connsiteX22" fmla="*/ 2061175 w 2136775"/>
                <a:gd name="connsiteY22" fmla="*/ 82894 h 346075"/>
                <a:gd name="connsiteX23" fmla="*/ 2136775 w 2136775"/>
                <a:gd name="connsiteY23" fmla="*/ 82894 h 346075"/>
                <a:gd name="connsiteX24" fmla="*/ 2136775 w 2136775"/>
                <a:gd name="connsiteY24" fmla="*/ 346075 h 346075"/>
                <a:gd name="connsiteX25" fmla="*/ 0 w 2136775"/>
                <a:gd name="connsiteY25" fmla="*/ 346075 h 346075"/>
                <a:gd name="connsiteX26" fmla="*/ 0 w 2136775"/>
                <a:gd name="connsiteY26" fmla="*/ 82894 h 346075"/>
                <a:gd name="connsiteX27" fmla="*/ 75600 w 2136775"/>
                <a:gd name="connsiteY27" fmla="*/ 82894 h 34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36775" h="346075">
                  <a:moveTo>
                    <a:pt x="75600" y="0"/>
                  </a:moveTo>
                  <a:lnTo>
                    <a:pt x="279529" y="0"/>
                  </a:lnTo>
                  <a:lnTo>
                    <a:pt x="279529" y="82894"/>
                  </a:lnTo>
                  <a:lnTo>
                    <a:pt x="431929" y="82894"/>
                  </a:lnTo>
                  <a:lnTo>
                    <a:pt x="431929" y="0"/>
                  </a:lnTo>
                  <a:lnTo>
                    <a:pt x="635858" y="0"/>
                  </a:lnTo>
                  <a:lnTo>
                    <a:pt x="635858" y="82894"/>
                  </a:lnTo>
                  <a:lnTo>
                    <a:pt x="788258" y="82894"/>
                  </a:lnTo>
                  <a:lnTo>
                    <a:pt x="788258" y="0"/>
                  </a:lnTo>
                  <a:lnTo>
                    <a:pt x="992187" y="0"/>
                  </a:lnTo>
                  <a:lnTo>
                    <a:pt x="992187" y="82894"/>
                  </a:lnTo>
                  <a:lnTo>
                    <a:pt x="1144587" y="82894"/>
                  </a:lnTo>
                  <a:lnTo>
                    <a:pt x="1144587" y="0"/>
                  </a:lnTo>
                  <a:lnTo>
                    <a:pt x="1348516" y="0"/>
                  </a:lnTo>
                  <a:lnTo>
                    <a:pt x="1348516" y="82894"/>
                  </a:lnTo>
                  <a:lnTo>
                    <a:pt x="1500916" y="82894"/>
                  </a:lnTo>
                  <a:lnTo>
                    <a:pt x="1500916" y="0"/>
                  </a:lnTo>
                  <a:lnTo>
                    <a:pt x="1704845" y="0"/>
                  </a:lnTo>
                  <a:lnTo>
                    <a:pt x="1704845" y="82894"/>
                  </a:lnTo>
                  <a:lnTo>
                    <a:pt x="1857245" y="82894"/>
                  </a:lnTo>
                  <a:lnTo>
                    <a:pt x="1857245" y="0"/>
                  </a:lnTo>
                  <a:lnTo>
                    <a:pt x="2061175" y="0"/>
                  </a:lnTo>
                  <a:lnTo>
                    <a:pt x="2061175" y="82894"/>
                  </a:lnTo>
                  <a:lnTo>
                    <a:pt x="2136775" y="82894"/>
                  </a:lnTo>
                  <a:lnTo>
                    <a:pt x="2136775" y="346075"/>
                  </a:lnTo>
                  <a:lnTo>
                    <a:pt x="0" y="346075"/>
                  </a:lnTo>
                  <a:lnTo>
                    <a:pt x="0" y="82894"/>
                  </a:lnTo>
                  <a:lnTo>
                    <a:pt x="75600" y="82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任意多边形: 形状 16">
              <a:extLst>
                <a:ext uri="{FF2B5EF4-FFF2-40B4-BE49-F238E27FC236}">
                  <a16:creationId xmlns:a16="http://schemas.microsoft.com/office/drawing/2014/main" id="{409E19B4-DC7A-4664-AC43-4D5FEA26E870}"/>
                </a:ext>
              </a:extLst>
            </p:cNvPr>
            <p:cNvSpPr/>
            <p:nvPr/>
          </p:nvSpPr>
          <p:spPr>
            <a:xfrm rot="10800000">
              <a:off x="16177" y="-27807"/>
              <a:ext cx="2742954" cy="464457"/>
            </a:xfrm>
            <a:custGeom>
              <a:avLst/>
              <a:gdLst>
                <a:gd name="connsiteX0" fmla="*/ 75600 w 2136775"/>
                <a:gd name="connsiteY0" fmla="*/ 0 h 346075"/>
                <a:gd name="connsiteX1" fmla="*/ 279529 w 2136775"/>
                <a:gd name="connsiteY1" fmla="*/ 0 h 346075"/>
                <a:gd name="connsiteX2" fmla="*/ 279529 w 2136775"/>
                <a:gd name="connsiteY2" fmla="*/ 82894 h 346075"/>
                <a:gd name="connsiteX3" fmla="*/ 431929 w 2136775"/>
                <a:gd name="connsiteY3" fmla="*/ 82894 h 346075"/>
                <a:gd name="connsiteX4" fmla="*/ 431929 w 2136775"/>
                <a:gd name="connsiteY4" fmla="*/ 0 h 346075"/>
                <a:gd name="connsiteX5" fmla="*/ 635858 w 2136775"/>
                <a:gd name="connsiteY5" fmla="*/ 0 h 346075"/>
                <a:gd name="connsiteX6" fmla="*/ 635858 w 2136775"/>
                <a:gd name="connsiteY6" fmla="*/ 82894 h 346075"/>
                <a:gd name="connsiteX7" fmla="*/ 788258 w 2136775"/>
                <a:gd name="connsiteY7" fmla="*/ 82894 h 346075"/>
                <a:gd name="connsiteX8" fmla="*/ 788258 w 2136775"/>
                <a:gd name="connsiteY8" fmla="*/ 0 h 346075"/>
                <a:gd name="connsiteX9" fmla="*/ 992187 w 2136775"/>
                <a:gd name="connsiteY9" fmla="*/ 0 h 346075"/>
                <a:gd name="connsiteX10" fmla="*/ 992187 w 2136775"/>
                <a:gd name="connsiteY10" fmla="*/ 82894 h 346075"/>
                <a:gd name="connsiteX11" fmla="*/ 1144587 w 2136775"/>
                <a:gd name="connsiteY11" fmla="*/ 82894 h 346075"/>
                <a:gd name="connsiteX12" fmla="*/ 1144587 w 2136775"/>
                <a:gd name="connsiteY12" fmla="*/ 0 h 346075"/>
                <a:gd name="connsiteX13" fmla="*/ 1348516 w 2136775"/>
                <a:gd name="connsiteY13" fmla="*/ 0 h 346075"/>
                <a:gd name="connsiteX14" fmla="*/ 1348516 w 2136775"/>
                <a:gd name="connsiteY14" fmla="*/ 82894 h 346075"/>
                <a:gd name="connsiteX15" fmla="*/ 1500916 w 2136775"/>
                <a:gd name="connsiteY15" fmla="*/ 82894 h 346075"/>
                <a:gd name="connsiteX16" fmla="*/ 1500916 w 2136775"/>
                <a:gd name="connsiteY16" fmla="*/ 0 h 346075"/>
                <a:gd name="connsiteX17" fmla="*/ 1704845 w 2136775"/>
                <a:gd name="connsiteY17" fmla="*/ 0 h 346075"/>
                <a:gd name="connsiteX18" fmla="*/ 1704845 w 2136775"/>
                <a:gd name="connsiteY18" fmla="*/ 82894 h 346075"/>
                <a:gd name="connsiteX19" fmla="*/ 1857245 w 2136775"/>
                <a:gd name="connsiteY19" fmla="*/ 82894 h 346075"/>
                <a:gd name="connsiteX20" fmla="*/ 1857245 w 2136775"/>
                <a:gd name="connsiteY20" fmla="*/ 0 h 346075"/>
                <a:gd name="connsiteX21" fmla="*/ 2061175 w 2136775"/>
                <a:gd name="connsiteY21" fmla="*/ 0 h 346075"/>
                <a:gd name="connsiteX22" fmla="*/ 2061175 w 2136775"/>
                <a:gd name="connsiteY22" fmla="*/ 82894 h 346075"/>
                <a:gd name="connsiteX23" fmla="*/ 2136775 w 2136775"/>
                <a:gd name="connsiteY23" fmla="*/ 82894 h 346075"/>
                <a:gd name="connsiteX24" fmla="*/ 2136775 w 2136775"/>
                <a:gd name="connsiteY24" fmla="*/ 346075 h 346075"/>
                <a:gd name="connsiteX25" fmla="*/ 0 w 2136775"/>
                <a:gd name="connsiteY25" fmla="*/ 346075 h 346075"/>
                <a:gd name="connsiteX26" fmla="*/ 0 w 2136775"/>
                <a:gd name="connsiteY26" fmla="*/ 82894 h 346075"/>
                <a:gd name="connsiteX27" fmla="*/ 75600 w 2136775"/>
                <a:gd name="connsiteY27" fmla="*/ 82894 h 34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36775" h="346075">
                  <a:moveTo>
                    <a:pt x="75600" y="0"/>
                  </a:moveTo>
                  <a:lnTo>
                    <a:pt x="279529" y="0"/>
                  </a:lnTo>
                  <a:lnTo>
                    <a:pt x="279529" y="82894"/>
                  </a:lnTo>
                  <a:lnTo>
                    <a:pt x="431929" y="82894"/>
                  </a:lnTo>
                  <a:lnTo>
                    <a:pt x="431929" y="0"/>
                  </a:lnTo>
                  <a:lnTo>
                    <a:pt x="635858" y="0"/>
                  </a:lnTo>
                  <a:lnTo>
                    <a:pt x="635858" y="82894"/>
                  </a:lnTo>
                  <a:lnTo>
                    <a:pt x="788258" y="82894"/>
                  </a:lnTo>
                  <a:lnTo>
                    <a:pt x="788258" y="0"/>
                  </a:lnTo>
                  <a:lnTo>
                    <a:pt x="992187" y="0"/>
                  </a:lnTo>
                  <a:lnTo>
                    <a:pt x="992187" y="82894"/>
                  </a:lnTo>
                  <a:lnTo>
                    <a:pt x="1144587" y="82894"/>
                  </a:lnTo>
                  <a:lnTo>
                    <a:pt x="1144587" y="0"/>
                  </a:lnTo>
                  <a:lnTo>
                    <a:pt x="1348516" y="0"/>
                  </a:lnTo>
                  <a:lnTo>
                    <a:pt x="1348516" y="82894"/>
                  </a:lnTo>
                  <a:lnTo>
                    <a:pt x="1500916" y="82894"/>
                  </a:lnTo>
                  <a:lnTo>
                    <a:pt x="1500916" y="0"/>
                  </a:lnTo>
                  <a:lnTo>
                    <a:pt x="1704845" y="0"/>
                  </a:lnTo>
                  <a:lnTo>
                    <a:pt x="1704845" y="82894"/>
                  </a:lnTo>
                  <a:lnTo>
                    <a:pt x="1857245" y="82894"/>
                  </a:lnTo>
                  <a:lnTo>
                    <a:pt x="1857245" y="0"/>
                  </a:lnTo>
                  <a:lnTo>
                    <a:pt x="2061175" y="0"/>
                  </a:lnTo>
                  <a:lnTo>
                    <a:pt x="2061175" y="82894"/>
                  </a:lnTo>
                  <a:lnTo>
                    <a:pt x="2136775" y="82894"/>
                  </a:lnTo>
                  <a:lnTo>
                    <a:pt x="2136775" y="346075"/>
                  </a:lnTo>
                  <a:lnTo>
                    <a:pt x="0" y="346075"/>
                  </a:lnTo>
                  <a:lnTo>
                    <a:pt x="0" y="82894"/>
                  </a:lnTo>
                  <a:lnTo>
                    <a:pt x="75600" y="82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任意多边形: 形状 16">
              <a:extLst>
                <a:ext uri="{FF2B5EF4-FFF2-40B4-BE49-F238E27FC236}">
                  <a16:creationId xmlns:a16="http://schemas.microsoft.com/office/drawing/2014/main" id="{12D1D1E6-D47C-4475-AE4E-ECCD01B4D583}"/>
                </a:ext>
              </a:extLst>
            </p:cNvPr>
            <p:cNvSpPr/>
            <p:nvPr/>
          </p:nvSpPr>
          <p:spPr>
            <a:xfrm rot="10800000">
              <a:off x="5477177" y="-27807"/>
              <a:ext cx="2742954" cy="464457"/>
            </a:xfrm>
            <a:custGeom>
              <a:avLst/>
              <a:gdLst>
                <a:gd name="connsiteX0" fmla="*/ 75600 w 2136775"/>
                <a:gd name="connsiteY0" fmla="*/ 0 h 346075"/>
                <a:gd name="connsiteX1" fmla="*/ 279529 w 2136775"/>
                <a:gd name="connsiteY1" fmla="*/ 0 h 346075"/>
                <a:gd name="connsiteX2" fmla="*/ 279529 w 2136775"/>
                <a:gd name="connsiteY2" fmla="*/ 82894 h 346075"/>
                <a:gd name="connsiteX3" fmla="*/ 431929 w 2136775"/>
                <a:gd name="connsiteY3" fmla="*/ 82894 h 346075"/>
                <a:gd name="connsiteX4" fmla="*/ 431929 w 2136775"/>
                <a:gd name="connsiteY4" fmla="*/ 0 h 346075"/>
                <a:gd name="connsiteX5" fmla="*/ 635858 w 2136775"/>
                <a:gd name="connsiteY5" fmla="*/ 0 h 346075"/>
                <a:gd name="connsiteX6" fmla="*/ 635858 w 2136775"/>
                <a:gd name="connsiteY6" fmla="*/ 82894 h 346075"/>
                <a:gd name="connsiteX7" fmla="*/ 788258 w 2136775"/>
                <a:gd name="connsiteY7" fmla="*/ 82894 h 346075"/>
                <a:gd name="connsiteX8" fmla="*/ 788258 w 2136775"/>
                <a:gd name="connsiteY8" fmla="*/ 0 h 346075"/>
                <a:gd name="connsiteX9" fmla="*/ 992187 w 2136775"/>
                <a:gd name="connsiteY9" fmla="*/ 0 h 346075"/>
                <a:gd name="connsiteX10" fmla="*/ 992187 w 2136775"/>
                <a:gd name="connsiteY10" fmla="*/ 82894 h 346075"/>
                <a:gd name="connsiteX11" fmla="*/ 1144587 w 2136775"/>
                <a:gd name="connsiteY11" fmla="*/ 82894 h 346075"/>
                <a:gd name="connsiteX12" fmla="*/ 1144587 w 2136775"/>
                <a:gd name="connsiteY12" fmla="*/ 0 h 346075"/>
                <a:gd name="connsiteX13" fmla="*/ 1348516 w 2136775"/>
                <a:gd name="connsiteY13" fmla="*/ 0 h 346075"/>
                <a:gd name="connsiteX14" fmla="*/ 1348516 w 2136775"/>
                <a:gd name="connsiteY14" fmla="*/ 82894 h 346075"/>
                <a:gd name="connsiteX15" fmla="*/ 1500916 w 2136775"/>
                <a:gd name="connsiteY15" fmla="*/ 82894 h 346075"/>
                <a:gd name="connsiteX16" fmla="*/ 1500916 w 2136775"/>
                <a:gd name="connsiteY16" fmla="*/ 0 h 346075"/>
                <a:gd name="connsiteX17" fmla="*/ 1704845 w 2136775"/>
                <a:gd name="connsiteY17" fmla="*/ 0 h 346075"/>
                <a:gd name="connsiteX18" fmla="*/ 1704845 w 2136775"/>
                <a:gd name="connsiteY18" fmla="*/ 82894 h 346075"/>
                <a:gd name="connsiteX19" fmla="*/ 1857245 w 2136775"/>
                <a:gd name="connsiteY19" fmla="*/ 82894 h 346075"/>
                <a:gd name="connsiteX20" fmla="*/ 1857245 w 2136775"/>
                <a:gd name="connsiteY20" fmla="*/ 0 h 346075"/>
                <a:gd name="connsiteX21" fmla="*/ 2061175 w 2136775"/>
                <a:gd name="connsiteY21" fmla="*/ 0 h 346075"/>
                <a:gd name="connsiteX22" fmla="*/ 2061175 w 2136775"/>
                <a:gd name="connsiteY22" fmla="*/ 82894 h 346075"/>
                <a:gd name="connsiteX23" fmla="*/ 2136775 w 2136775"/>
                <a:gd name="connsiteY23" fmla="*/ 82894 h 346075"/>
                <a:gd name="connsiteX24" fmla="*/ 2136775 w 2136775"/>
                <a:gd name="connsiteY24" fmla="*/ 346075 h 346075"/>
                <a:gd name="connsiteX25" fmla="*/ 0 w 2136775"/>
                <a:gd name="connsiteY25" fmla="*/ 346075 h 346075"/>
                <a:gd name="connsiteX26" fmla="*/ 0 w 2136775"/>
                <a:gd name="connsiteY26" fmla="*/ 82894 h 346075"/>
                <a:gd name="connsiteX27" fmla="*/ 75600 w 2136775"/>
                <a:gd name="connsiteY27" fmla="*/ 82894 h 34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36775" h="346075">
                  <a:moveTo>
                    <a:pt x="75600" y="0"/>
                  </a:moveTo>
                  <a:lnTo>
                    <a:pt x="279529" y="0"/>
                  </a:lnTo>
                  <a:lnTo>
                    <a:pt x="279529" y="82894"/>
                  </a:lnTo>
                  <a:lnTo>
                    <a:pt x="431929" y="82894"/>
                  </a:lnTo>
                  <a:lnTo>
                    <a:pt x="431929" y="0"/>
                  </a:lnTo>
                  <a:lnTo>
                    <a:pt x="635858" y="0"/>
                  </a:lnTo>
                  <a:lnTo>
                    <a:pt x="635858" y="82894"/>
                  </a:lnTo>
                  <a:lnTo>
                    <a:pt x="788258" y="82894"/>
                  </a:lnTo>
                  <a:lnTo>
                    <a:pt x="788258" y="0"/>
                  </a:lnTo>
                  <a:lnTo>
                    <a:pt x="992187" y="0"/>
                  </a:lnTo>
                  <a:lnTo>
                    <a:pt x="992187" y="82894"/>
                  </a:lnTo>
                  <a:lnTo>
                    <a:pt x="1144587" y="82894"/>
                  </a:lnTo>
                  <a:lnTo>
                    <a:pt x="1144587" y="0"/>
                  </a:lnTo>
                  <a:lnTo>
                    <a:pt x="1348516" y="0"/>
                  </a:lnTo>
                  <a:lnTo>
                    <a:pt x="1348516" y="82894"/>
                  </a:lnTo>
                  <a:lnTo>
                    <a:pt x="1500916" y="82894"/>
                  </a:lnTo>
                  <a:lnTo>
                    <a:pt x="1500916" y="0"/>
                  </a:lnTo>
                  <a:lnTo>
                    <a:pt x="1704845" y="0"/>
                  </a:lnTo>
                  <a:lnTo>
                    <a:pt x="1704845" y="82894"/>
                  </a:lnTo>
                  <a:lnTo>
                    <a:pt x="1857245" y="82894"/>
                  </a:lnTo>
                  <a:lnTo>
                    <a:pt x="1857245" y="0"/>
                  </a:lnTo>
                  <a:lnTo>
                    <a:pt x="2061175" y="0"/>
                  </a:lnTo>
                  <a:lnTo>
                    <a:pt x="2061175" y="82894"/>
                  </a:lnTo>
                  <a:lnTo>
                    <a:pt x="2136775" y="82894"/>
                  </a:lnTo>
                  <a:lnTo>
                    <a:pt x="2136775" y="346075"/>
                  </a:lnTo>
                  <a:lnTo>
                    <a:pt x="0" y="346075"/>
                  </a:lnTo>
                  <a:lnTo>
                    <a:pt x="0" y="82894"/>
                  </a:lnTo>
                  <a:lnTo>
                    <a:pt x="75600" y="82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任意多边形: 形状 16">
              <a:extLst>
                <a:ext uri="{FF2B5EF4-FFF2-40B4-BE49-F238E27FC236}">
                  <a16:creationId xmlns:a16="http://schemas.microsoft.com/office/drawing/2014/main" id="{524289B4-F3EB-4F85-A5DF-7BC8D4D8E70D}"/>
                </a:ext>
              </a:extLst>
            </p:cNvPr>
            <p:cNvSpPr/>
            <p:nvPr/>
          </p:nvSpPr>
          <p:spPr>
            <a:xfrm rot="10800000">
              <a:off x="8220377" y="-27807"/>
              <a:ext cx="2742954" cy="464457"/>
            </a:xfrm>
            <a:custGeom>
              <a:avLst/>
              <a:gdLst>
                <a:gd name="connsiteX0" fmla="*/ 75600 w 2136775"/>
                <a:gd name="connsiteY0" fmla="*/ 0 h 346075"/>
                <a:gd name="connsiteX1" fmla="*/ 279529 w 2136775"/>
                <a:gd name="connsiteY1" fmla="*/ 0 h 346075"/>
                <a:gd name="connsiteX2" fmla="*/ 279529 w 2136775"/>
                <a:gd name="connsiteY2" fmla="*/ 82894 h 346075"/>
                <a:gd name="connsiteX3" fmla="*/ 431929 w 2136775"/>
                <a:gd name="connsiteY3" fmla="*/ 82894 h 346075"/>
                <a:gd name="connsiteX4" fmla="*/ 431929 w 2136775"/>
                <a:gd name="connsiteY4" fmla="*/ 0 h 346075"/>
                <a:gd name="connsiteX5" fmla="*/ 635858 w 2136775"/>
                <a:gd name="connsiteY5" fmla="*/ 0 h 346075"/>
                <a:gd name="connsiteX6" fmla="*/ 635858 w 2136775"/>
                <a:gd name="connsiteY6" fmla="*/ 82894 h 346075"/>
                <a:gd name="connsiteX7" fmla="*/ 788258 w 2136775"/>
                <a:gd name="connsiteY7" fmla="*/ 82894 h 346075"/>
                <a:gd name="connsiteX8" fmla="*/ 788258 w 2136775"/>
                <a:gd name="connsiteY8" fmla="*/ 0 h 346075"/>
                <a:gd name="connsiteX9" fmla="*/ 992187 w 2136775"/>
                <a:gd name="connsiteY9" fmla="*/ 0 h 346075"/>
                <a:gd name="connsiteX10" fmla="*/ 992187 w 2136775"/>
                <a:gd name="connsiteY10" fmla="*/ 82894 h 346075"/>
                <a:gd name="connsiteX11" fmla="*/ 1144587 w 2136775"/>
                <a:gd name="connsiteY11" fmla="*/ 82894 h 346075"/>
                <a:gd name="connsiteX12" fmla="*/ 1144587 w 2136775"/>
                <a:gd name="connsiteY12" fmla="*/ 0 h 346075"/>
                <a:gd name="connsiteX13" fmla="*/ 1348516 w 2136775"/>
                <a:gd name="connsiteY13" fmla="*/ 0 h 346075"/>
                <a:gd name="connsiteX14" fmla="*/ 1348516 w 2136775"/>
                <a:gd name="connsiteY14" fmla="*/ 82894 h 346075"/>
                <a:gd name="connsiteX15" fmla="*/ 1500916 w 2136775"/>
                <a:gd name="connsiteY15" fmla="*/ 82894 h 346075"/>
                <a:gd name="connsiteX16" fmla="*/ 1500916 w 2136775"/>
                <a:gd name="connsiteY16" fmla="*/ 0 h 346075"/>
                <a:gd name="connsiteX17" fmla="*/ 1704845 w 2136775"/>
                <a:gd name="connsiteY17" fmla="*/ 0 h 346075"/>
                <a:gd name="connsiteX18" fmla="*/ 1704845 w 2136775"/>
                <a:gd name="connsiteY18" fmla="*/ 82894 h 346075"/>
                <a:gd name="connsiteX19" fmla="*/ 1857245 w 2136775"/>
                <a:gd name="connsiteY19" fmla="*/ 82894 h 346075"/>
                <a:gd name="connsiteX20" fmla="*/ 1857245 w 2136775"/>
                <a:gd name="connsiteY20" fmla="*/ 0 h 346075"/>
                <a:gd name="connsiteX21" fmla="*/ 2061175 w 2136775"/>
                <a:gd name="connsiteY21" fmla="*/ 0 h 346075"/>
                <a:gd name="connsiteX22" fmla="*/ 2061175 w 2136775"/>
                <a:gd name="connsiteY22" fmla="*/ 82894 h 346075"/>
                <a:gd name="connsiteX23" fmla="*/ 2136775 w 2136775"/>
                <a:gd name="connsiteY23" fmla="*/ 82894 h 346075"/>
                <a:gd name="connsiteX24" fmla="*/ 2136775 w 2136775"/>
                <a:gd name="connsiteY24" fmla="*/ 346075 h 346075"/>
                <a:gd name="connsiteX25" fmla="*/ 0 w 2136775"/>
                <a:gd name="connsiteY25" fmla="*/ 346075 h 346075"/>
                <a:gd name="connsiteX26" fmla="*/ 0 w 2136775"/>
                <a:gd name="connsiteY26" fmla="*/ 82894 h 346075"/>
                <a:gd name="connsiteX27" fmla="*/ 75600 w 2136775"/>
                <a:gd name="connsiteY27" fmla="*/ 82894 h 34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36775" h="346075">
                  <a:moveTo>
                    <a:pt x="75600" y="0"/>
                  </a:moveTo>
                  <a:lnTo>
                    <a:pt x="279529" y="0"/>
                  </a:lnTo>
                  <a:lnTo>
                    <a:pt x="279529" y="82894"/>
                  </a:lnTo>
                  <a:lnTo>
                    <a:pt x="431929" y="82894"/>
                  </a:lnTo>
                  <a:lnTo>
                    <a:pt x="431929" y="0"/>
                  </a:lnTo>
                  <a:lnTo>
                    <a:pt x="635858" y="0"/>
                  </a:lnTo>
                  <a:lnTo>
                    <a:pt x="635858" y="82894"/>
                  </a:lnTo>
                  <a:lnTo>
                    <a:pt x="788258" y="82894"/>
                  </a:lnTo>
                  <a:lnTo>
                    <a:pt x="788258" y="0"/>
                  </a:lnTo>
                  <a:lnTo>
                    <a:pt x="992187" y="0"/>
                  </a:lnTo>
                  <a:lnTo>
                    <a:pt x="992187" y="82894"/>
                  </a:lnTo>
                  <a:lnTo>
                    <a:pt x="1144587" y="82894"/>
                  </a:lnTo>
                  <a:lnTo>
                    <a:pt x="1144587" y="0"/>
                  </a:lnTo>
                  <a:lnTo>
                    <a:pt x="1348516" y="0"/>
                  </a:lnTo>
                  <a:lnTo>
                    <a:pt x="1348516" y="82894"/>
                  </a:lnTo>
                  <a:lnTo>
                    <a:pt x="1500916" y="82894"/>
                  </a:lnTo>
                  <a:lnTo>
                    <a:pt x="1500916" y="0"/>
                  </a:lnTo>
                  <a:lnTo>
                    <a:pt x="1704845" y="0"/>
                  </a:lnTo>
                  <a:lnTo>
                    <a:pt x="1704845" y="82894"/>
                  </a:lnTo>
                  <a:lnTo>
                    <a:pt x="1857245" y="82894"/>
                  </a:lnTo>
                  <a:lnTo>
                    <a:pt x="1857245" y="0"/>
                  </a:lnTo>
                  <a:lnTo>
                    <a:pt x="2061175" y="0"/>
                  </a:lnTo>
                  <a:lnTo>
                    <a:pt x="2061175" y="82894"/>
                  </a:lnTo>
                  <a:lnTo>
                    <a:pt x="2136775" y="82894"/>
                  </a:lnTo>
                  <a:lnTo>
                    <a:pt x="2136775" y="346075"/>
                  </a:lnTo>
                  <a:lnTo>
                    <a:pt x="0" y="346075"/>
                  </a:lnTo>
                  <a:lnTo>
                    <a:pt x="0" y="82894"/>
                  </a:lnTo>
                  <a:lnTo>
                    <a:pt x="75600" y="82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9CBAB75-C41F-4A95-BE9E-6F1C5C329B33}"/>
                </a:ext>
              </a:extLst>
            </p:cNvPr>
            <p:cNvSpPr/>
            <p:nvPr/>
          </p:nvSpPr>
          <p:spPr>
            <a:xfrm rot="10800000">
              <a:off x="10963577" y="-27807"/>
              <a:ext cx="1267302" cy="464457"/>
            </a:xfrm>
            <a:custGeom>
              <a:avLst/>
              <a:gdLst>
                <a:gd name="connsiteX0" fmla="*/ 1267302 w 1267302"/>
                <a:gd name="connsiteY0" fmla="*/ 464457 h 464457"/>
                <a:gd name="connsiteX1" fmla="*/ 0 w 1267302"/>
                <a:gd name="connsiteY1" fmla="*/ 464457 h 464457"/>
                <a:gd name="connsiteX2" fmla="*/ 0 w 1267302"/>
                <a:gd name="connsiteY2" fmla="*/ 0 h 464457"/>
                <a:gd name="connsiteX3" fmla="*/ 255423 w 1267302"/>
                <a:gd name="connsiteY3" fmla="*/ 0 h 464457"/>
                <a:gd name="connsiteX4" fmla="*/ 255423 w 1267302"/>
                <a:gd name="connsiteY4" fmla="*/ 111250 h 464457"/>
                <a:gd name="connsiteX5" fmla="*/ 451057 w 1267302"/>
                <a:gd name="connsiteY5" fmla="*/ 111250 h 464457"/>
                <a:gd name="connsiteX6" fmla="*/ 451057 w 1267302"/>
                <a:gd name="connsiteY6" fmla="*/ 0 h 464457"/>
                <a:gd name="connsiteX7" fmla="*/ 712838 w 1267302"/>
                <a:gd name="connsiteY7" fmla="*/ 0 h 464457"/>
                <a:gd name="connsiteX8" fmla="*/ 712838 w 1267302"/>
                <a:gd name="connsiteY8" fmla="*/ 111250 h 464457"/>
                <a:gd name="connsiteX9" fmla="*/ 908472 w 1267302"/>
                <a:gd name="connsiteY9" fmla="*/ 111250 h 464457"/>
                <a:gd name="connsiteX10" fmla="*/ 908472 w 1267302"/>
                <a:gd name="connsiteY10" fmla="*/ 0 h 464457"/>
                <a:gd name="connsiteX11" fmla="*/ 1170255 w 1267302"/>
                <a:gd name="connsiteY11" fmla="*/ 0 h 464457"/>
                <a:gd name="connsiteX12" fmla="*/ 1170255 w 1267302"/>
                <a:gd name="connsiteY12" fmla="*/ 111250 h 464457"/>
                <a:gd name="connsiteX13" fmla="*/ 1267302 w 1267302"/>
                <a:gd name="connsiteY13" fmla="*/ 111250 h 46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7302" h="464457">
                  <a:moveTo>
                    <a:pt x="1267302" y="464457"/>
                  </a:moveTo>
                  <a:lnTo>
                    <a:pt x="0" y="464457"/>
                  </a:lnTo>
                  <a:lnTo>
                    <a:pt x="0" y="0"/>
                  </a:lnTo>
                  <a:lnTo>
                    <a:pt x="255423" y="0"/>
                  </a:lnTo>
                  <a:lnTo>
                    <a:pt x="255423" y="111250"/>
                  </a:lnTo>
                  <a:lnTo>
                    <a:pt x="451057" y="111250"/>
                  </a:lnTo>
                  <a:lnTo>
                    <a:pt x="451057" y="0"/>
                  </a:lnTo>
                  <a:lnTo>
                    <a:pt x="712838" y="0"/>
                  </a:lnTo>
                  <a:lnTo>
                    <a:pt x="712838" y="111250"/>
                  </a:lnTo>
                  <a:lnTo>
                    <a:pt x="908472" y="111250"/>
                  </a:lnTo>
                  <a:lnTo>
                    <a:pt x="908472" y="0"/>
                  </a:lnTo>
                  <a:lnTo>
                    <a:pt x="1170255" y="0"/>
                  </a:lnTo>
                  <a:lnTo>
                    <a:pt x="1170255" y="111250"/>
                  </a:lnTo>
                  <a:lnTo>
                    <a:pt x="1267302" y="1112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24" name="Rectángulo 6175">
            <a:extLst>
              <a:ext uri="{FF2B5EF4-FFF2-40B4-BE49-F238E27FC236}">
                <a16:creationId xmlns:a16="http://schemas.microsoft.com/office/drawing/2014/main" id="{B3B4FDF4-97F8-4F4B-B60B-4FA658454BC3}"/>
              </a:ext>
            </a:extLst>
          </p:cNvPr>
          <p:cNvSpPr/>
          <p:nvPr/>
        </p:nvSpPr>
        <p:spPr>
          <a:xfrm>
            <a:off x="0" y="-36681"/>
            <a:ext cx="12214702" cy="1255882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F0E1320C-87C1-4364-8743-CEE42B4273AC}"/>
              </a:ext>
            </a:extLst>
          </p:cNvPr>
          <p:cNvGrpSpPr/>
          <p:nvPr/>
        </p:nvGrpSpPr>
        <p:grpSpPr>
          <a:xfrm>
            <a:off x="3779999" y="4256761"/>
            <a:ext cx="1883659" cy="1195248"/>
            <a:chOff x="6430073" y="5015052"/>
            <a:chExt cx="1883659" cy="1195248"/>
          </a:xfrm>
        </p:grpSpPr>
        <p:grpSp>
          <p:nvGrpSpPr>
            <p:cNvPr id="59" name="Group 5">
              <a:extLst>
                <a:ext uri="{FF2B5EF4-FFF2-40B4-BE49-F238E27FC236}">
                  <a16:creationId xmlns:a16="http://schemas.microsoft.com/office/drawing/2014/main" id="{CCEF3885-1A7A-4D1A-A6F8-CBE79BB4470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169213" y="5015052"/>
              <a:ext cx="1144519" cy="959028"/>
              <a:chOff x="3550" y="1917"/>
              <a:chExt cx="580" cy="486"/>
            </a:xfrm>
          </p:grpSpPr>
          <p:sp>
            <p:nvSpPr>
              <p:cNvPr id="60" name="Freeform 6">
                <a:extLst>
                  <a:ext uri="{FF2B5EF4-FFF2-40B4-BE49-F238E27FC236}">
                    <a16:creationId xmlns:a16="http://schemas.microsoft.com/office/drawing/2014/main" id="{31513FDE-8D79-4EC5-B174-11A989C73A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980C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7">
                <a:extLst>
                  <a:ext uri="{FF2B5EF4-FFF2-40B4-BE49-F238E27FC236}">
                    <a16:creationId xmlns:a16="http://schemas.microsoft.com/office/drawing/2014/main" id="{9FF8CAAB-7164-4D8E-9CCB-E388866AC7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8">
                <a:extLst>
                  <a:ext uri="{FF2B5EF4-FFF2-40B4-BE49-F238E27FC236}">
                    <a16:creationId xmlns:a16="http://schemas.microsoft.com/office/drawing/2014/main" id="{40FEDE64-F80A-4EFA-98F6-1829BE5FE2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9">
                <a:extLst>
                  <a:ext uri="{FF2B5EF4-FFF2-40B4-BE49-F238E27FC236}">
                    <a16:creationId xmlns:a16="http://schemas.microsoft.com/office/drawing/2014/main" id="{A00252F7-F404-4F41-8418-017A7B336E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Oval 10">
                <a:extLst>
                  <a:ext uri="{FF2B5EF4-FFF2-40B4-BE49-F238E27FC236}">
                    <a16:creationId xmlns:a16="http://schemas.microsoft.com/office/drawing/2014/main" id="{DF0B32E5-E183-445F-B6A6-5F90097BF9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Oval 11">
                <a:extLst>
                  <a:ext uri="{FF2B5EF4-FFF2-40B4-BE49-F238E27FC236}">
                    <a16:creationId xmlns:a16="http://schemas.microsoft.com/office/drawing/2014/main" id="{20CF99E0-5E1D-4441-AE39-AC3E0F1F8E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12">
                <a:extLst>
                  <a:ext uri="{FF2B5EF4-FFF2-40B4-BE49-F238E27FC236}">
                    <a16:creationId xmlns:a16="http://schemas.microsoft.com/office/drawing/2014/main" id="{99FA6599-A5A0-4549-AF08-01BBD63327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Oval 13">
                <a:extLst>
                  <a:ext uri="{FF2B5EF4-FFF2-40B4-BE49-F238E27FC236}">
                    <a16:creationId xmlns:a16="http://schemas.microsoft.com/office/drawing/2014/main" id="{D66B8336-9105-411D-AE59-80B14FAAFF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Oval 14">
                <a:extLst>
                  <a:ext uri="{FF2B5EF4-FFF2-40B4-BE49-F238E27FC236}">
                    <a16:creationId xmlns:a16="http://schemas.microsoft.com/office/drawing/2014/main" id="{65846A9F-94D6-43CC-B499-13856388D8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15">
                <a:extLst>
                  <a:ext uri="{FF2B5EF4-FFF2-40B4-BE49-F238E27FC236}">
                    <a16:creationId xmlns:a16="http://schemas.microsoft.com/office/drawing/2014/main" id="{686A1C4F-1DCD-4285-9804-D446F3B1FB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Oval 16">
                <a:extLst>
                  <a:ext uri="{FF2B5EF4-FFF2-40B4-BE49-F238E27FC236}">
                    <a16:creationId xmlns:a16="http://schemas.microsoft.com/office/drawing/2014/main" id="{56FAA891-B898-47A4-9D1C-DFB840FD64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Oval 17">
                <a:extLst>
                  <a:ext uri="{FF2B5EF4-FFF2-40B4-BE49-F238E27FC236}">
                    <a16:creationId xmlns:a16="http://schemas.microsoft.com/office/drawing/2014/main" id="{17C6BB23-A5F4-4C61-B8F2-F3D5D0CAB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18">
                <a:extLst>
                  <a:ext uri="{FF2B5EF4-FFF2-40B4-BE49-F238E27FC236}">
                    <a16:creationId xmlns:a16="http://schemas.microsoft.com/office/drawing/2014/main" id="{50B36E3A-DF9E-47B5-984A-143C4E6708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Oval 19">
                <a:extLst>
                  <a:ext uri="{FF2B5EF4-FFF2-40B4-BE49-F238E27FC236}">
                    <a16:creationId xmlns:a16="http://schemas.microsoft.com/office/drawing/2014/main" id="{557F7DA8-47AC-42EC-9309-EB8DF9BCA1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Oval 20">
                <a:extLst>
                  <a:ext uri="{FF2B5EF4-FFF2-40B4-BE49-F238E27FC236}">
                    <a16:creationId xmlns:a16="http://schemas.microsoft.com/office/drawing/2014/main" id="{30A478BC-41CC-448E-BC06-A9358099C2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6" name="Group 5">
              <a:extLst>
                <a:ext uri="{FF2B5EF4-FFF2-40B4-BE49-F238E27FC236}">
                  <a16:creationId xmlns:a16="http://schemas.microsoft.com/office/drawing/2014/main" id="{96AE798E-A614-4562-A146-BDE66C8E0BA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30073" y="5251272"/>
              <a:ext cx="1144519" cy="959028"/>
              <a:chOff x="3550" y="1917"/>
              <a:chExt cx="580" cy="486"/>
            </a:xfrm>
          </p:grpSpPr>
          <p:sp>
            <p:nvSpPr>
              <p:cNvPr id="28" name="Freeform 6">
                <a:extLst>
                  <a:ext uri="{FF2B5EF4-FFF2-40B4-BE49-F238E27FC236}">
                    <a16:creationId xmlns:a16="http://schemas.microsoft.com/office/drawing/2014/main" id="{C223F4A6-9CD1-480F-A4F1-201F40F2A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980C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EA8825A3-BD2F-4E04-B4D7-A200D02E2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6873A364-C7FA-4872-A8AD-F0A4A224B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9">
                <a:extLst>
                  <a:ext uri="{FF2B5EF4-FFF2-40B4-BE49-F238E27FC236}">
                    <a16:creationId xmlns:a16="http://schemas.microsoft.com/office/drawing/2014/main" id="{45E160C9-2380-421A-8B6B-4E8C02190A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Oval 10">
                <a:extLst>
                  <a:ext uri="{FF2B5EF4-FFF2-40B4-BE49-F238E27FC236}">
                    <a16:creationId xmlns:a16="http://schemas.microsoft.com/office/drawing/2014/main" id="{EC1E1DC6-F25F-4BC5-95BB-5344C55EC6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Oval 11">
                <a:extLst>
                  <a:ext uri="{FF2B5EF4-FFF2-40B4-BE49-F238E27FC236}">
                    <a16:creationId xmlns:a16="http://schemas.microsoft.com/office/drawing/2014/main" id="{06693D93-0355-4F02-B2FD-F36CB6862B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12">
                <a:extLst>
                  <a:ext uri="{FF2B5EF4-FFF2-40B4-BE49-F238E27FC236}">
                    <a16:creationId xmlns:a16="http://schemas.microsoft.com/office/drawing/2014/main" id="{53BCBF8F-8FAC-451B-A579-4CFC803E5C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Oval 13">
                <a:extLst>
                  <a:ext uri="{FF2B5EF4-FFF2-40B4-BE49-F238E27FC236}">
                    <a16:creationId xmlns:a16="http://schemas.microsoft.com/office/drawing/2014/main" id="{59C77A2B-B1DE-4735-B491-9450D6C7B7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Oval 14">
                <a:extLst>
                  <a:ext uri="{FF2B5EF4-FFF2-40B4-BE49-F238E27FC236}">
                    <a16:creationId xmlns:a16="http://schemas.microsoft.com/office/drawing/2014/main" id="{3EF5394F-1D91-41E8-A296-4D387F17FA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15">
                <a:extLst>
                  <a:ext uri="{FF2B5EF4-FFF2-40B4-BE49-F238E27FC236}">
                    <a16:creationId xmlns:a16="http://schemas.microsoft.com/office/drawing/2014/main" id="{8CC8EB1A-243F-4E6B-ABDE-32916861FD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Oval 16">
                <a:extLst>
                  <a:ext uri="{FF2B5EF4-FFF2-40B4-BE49-F238E27FC236}">
                    <a16:creationId xmlns:a16="http://schemas.microsoft.com/office/drawing/2014/main" id="{8579EB17-258B-419F-8B5E-85F1AEECC1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Oval 17">
                <a:extLst>
                  <a:ext uri="{FF2B5EF4-FFF2-40B4-BE49-F238E27FC236}">
                    <a16:creationId xmlns:a16="http://schemas.microsoft.com/office/drawing/2014/main" id="{9C299F54-E621-4767-B54F-960B406868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18">
                <a:extLst>
                  <a:ext uri="{FF2B5EF4-FFF2-40B4-BE49-F238E27FC236}">
                    <a16:creationId xmlns:a16="http://schemas.microsoft.com/office/drawing/2014/main" id="{22DCF925-4A2F-4B4B-99A9-B884F78CC2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Oval 19">
                <a:extLst>
                  <a:ext uri="{FF2B5EF4-FFF2-40B4-BE49-F238E27FC236}">
                    <a16:creationId xmlns:a16="http://schemas.microsoft.com/office/drawing/2014/main" id="{24A9AF4C-5F99-407C-AAAA-7E3464F513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Oval 20">
                <a:extLst>
                  <a:ext uri="{FF2B5EF4-FFF2-40B4-BE49-F238E27FC236}">
                    <a16:creationId xmlns:a16="http://schemas.microsoft.com/office/drawing/2014/main" id="{59C8CDB7-E62F-4BAB-999B-8622FA964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44FF8987-CFBC-4319-8636-8FA58EC4006A}"/>
              </a:ext>
            </a:extLst>
          </p:cNvPr>
          <p:cNvGrpSpPr/>
          <p:nvPr/>
        </p:nvGrpSpPr>
        <p:grpSpPr>
          <a:xfrm>
            <a:off x="3994569" y="3467781"/>
            <a:ext cx="1883659" cy="1195248"/>
            <a:chOff x="6430073" y="5015052"/>
            <a:chExt cx="1883659" cy="1195248"/>
          </a:xfrm>
        </p:grpSpPr>
        <p:grpSp>
          <p:nvGrpSpPr>
            <p:cNvPr id="93" name="Group 5">
              <a:extLst>
                <a:ext uri="{FF2B5EF4-FFF2-40B4-BE49-F238E27FC236}">
                  <a16:creationId xmlns:a16="http://schemas.microsoft.com/office/drawing/2014/main" id="{7AF3C2E5-75BE-4405-871C-FA8AB99A8D8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169213" y="5015052"/>
              <a:ext cx="1144519" cy="959028"/>
              <a:chOff x="3550" y="1917"/>
              <a:chExt cx="580" cy="486"/>
            </a:xfrm>
          </p:grpSpPr>
          <p:sp>
            <p:nvSpPr>
              <p:cNvPr id="110" name="Freeform 6">
                <a:extLst>
                  <a:ext uri="{FF2B5EF4-FFF2-40B4-BE49-F238E27FC236}">
                    <a16:creationId xmlns:a16="http://schemas.microsoft.com/office/drawing/2014/main" id="{80E18F2C-1509-42CF-BE8F-5D2C455DBB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980C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7">
                <a:extLst>
                  <a:ext uri="{FF2B5EF4-FFF2-40B4-BE49-F238E27FC236}">
                    <a16:creationId xmlns:a16="http://schemas.microsoft.com/office/drawing/2014/main" id="{D3C95E79-49D6-4699-A3E6-D69A4F6EC9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8">
                <a:extLst>
                  <a:ext uri="{FF2B5EF4-FFF2-40B4-BE49-F238E27FC236}">
                    <a16:creationId xmlns:a16="http://schemas.microsoft.com/office/drawing/2014/main" id="{15F26FCD-A768-4B0F-BB60-503F7867CD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9">
                <a:extLst>
                  <a:ext uri="{FF2B5EF4-FFF2-40B4-BE49-F238E27FC236}">
                    <a16:creationId xmlns:a16="http://schemas.microsoft.com/office/drawing/2014/main" id="{8CD54CFC-F507-42BA-AF67-69567B159A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Oval 10">
                <a:extLst>
                  <a:ext uri="{FF2B5EF4-FFF2-40B4-BE49-F238E27FC236}">
                    <a16:creationId xmlns:a16="http://schemas.microsoft.com/office/drawing/2014/main" id="{072EE85F-3F87-43E1-A6CE-29AB0C2F5C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Oval 11">
                <a:extLst>
                  <a:ext uri="{FF2B5EF4-FFF2-40B4-BE49-F238E27FC236}">
                    <a16:creationId xmlns:a16="http://schemas.microsoft.com/office/drawing/2014/main" id="{F43EC43C-B52C-453E-AD7C-3966647766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Rectangle 12">
                <a:extLst>
                  <a:ext uri="{FF2B5EF4-FFF2-40B4-BE49-F238E27FC236}">
                    <a16:creationId xmlns:a16="http://schemas.microsoft.com/office/drawing/2014/main" id="{C723FAB6-9F0A-418A-84BD-26BCBC5581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Oval 13">
                <a:extLst>
                  <a:ext uri="{FF2B5EF4-FFF2-40B4-BE49-F238E27FC236}">
                    <a16:creationId xmlns:a16="http://schemas.microsoft.com/office/drawing/2014/main" id="{CF4CD075-EB8B-4973-A3EF-C58E45BFA4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Oval 14">
                <a:extLst>
                  <a:ext uri="{FF2B5EF4-FFF2-40B4-BE49-F238E27FC236}">
                    <a16:creationId xmlns:a16="http://schemas.microsoft.com/office/drawing/2014/main" id="{FF1D7DCE-76F6-4C54-B232-D9FB84F244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15">
                <a:extLst>
                  <a:ext uri="{FF2B5EF4-FFF2-40B4-BE49-F238E27FC236}">
                    <a16:creationId xmlns:a16="http://schemas.microsoft.com/office/drawing/2014/main" id="{832905D6-D097-405D-82DA-C78D06ED04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Oval 16">
                <a:extLst>
                  <a:ext uri="{FF2B5EF4-FFF2-40B4-BE49-F238E27FC236}">
                    <a16:creationId xmlns:a16="http://schemas.microsoft.com/office/drawing/2014/main" id="{AAB39458-48F0-41A2-98B6-4288010C6E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Oval 17">
                <a:extLst>
                  <a:ext uri="{FF2B5EF4-FFF2-40B4-BE49-F238E27FC236}">
                    <a16:creationId xmlns:a16="http://schemas.microsoft.com/office/drawing/2014/main" id="{78B0D8D8-BF8F-476E-A959-D04E9C4E80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Rectangle 18">
                <a:extLst>
                  <a:ext uri="{FF2B5EF4-FFF2-40B4-BE49-F238E27FC236}">
                    <a16:creationId xmlns:a16="http://schemas.microsoft.com/office/drawing/2014/main" id="{67F685B5-8E11-4AAB-A5E6-D1E9443480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Oval 19">
                <a:extLst>
                  <a:ext uri="{FF2B5EF4-FFF2-40B4-BE49-F238E27FC236}">
                    <a16:creationId xmlns:a16="http://schemas.microsoft.com/office/drawing/2014/main" id="{497A898F-A3D7-4FE7-8D7F-ACFD916D01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Oval 20">
                <a:extLst>
                  <a:ext uri="{FF2B5EF4-FFF2-40B4-BE49-F238E27FC236}">
                    <a16:creationId xmlns:a16="http://schemas.microsoft.com/office/drawing/2014/main" id="{2F403847-7A78-46BC-8E56-EEFAAE4905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4" name="Group 5">
              <a:extLst>
                <a:ext uri="{FF2B5EF4-FFF2-40B4-BE49-F238E27FC236}">
                  <a16:creationId xmlns:a16="http://schemas.microsoft.com/office/drawing/2014/main" id="{41649669-CCAA-44CE-ABD7-5F288610FA8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30073" y="5251272"/>
              <a:ext cx="1144519" cy="959028"/>
              <a:chOff x="3550" y="1917"/>
              <a:chExt cx="580" cy="486"/>
            </a:xfrm>
          </p:grpSpPr>
          <p:sp>
            <p:nvSpPr>
              <p:cNvPr id="95" name="Freeform 6">
                <a:extLst>
                  <a:ext uri="{FF2B5EF4-FFF2-40B4-BE49-F238E27FC236}">
                    <a16:creationId xmlns:a16="http://schemas.microsoft.com/office/drawing/2014/main" id="{E88803CB-4E28-48EB-AED2-80C0FB743B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D6A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7">
                <a:extLst>
                  <a:ext uri="{FF2B5EF4-FFF2-40B4-BE49-F238E27FC236}">
                    <a16:creationId xmlns:a16="http://schemas.microsoft.com/office/drawing/2014/main" id="{562F0F7F-06F5-464F-86D6-CF02DC8BB1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8">
                <a:extLst>
                  <a:ext uri="{FF2B5EF4-FFF2-40B4-BE49-F238E27FC236}">
                    <a16:creationId xmlns:a16="http://schemas.microsoft.com/office/drawing/2014/main" id="{7EB05FB0-36F2-4BB7-BA47-A37F60B012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9">
                <a:extLst>
                  <a:ext uri="{FF2B5EF4-FFF2-40B4-BE49-F238E27FC236}">
                    <a16:creationId xmlns:a16="http://schemas.microsoft.com/office/drawing/2014/main" id="{2B158EA6-19E8-4847-8BDD-9E8E99D503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Oval 10">
                <a:extLst>
                  <a:ext uri="{FF2B5EF4-FFF2-40B4-BE49-F238E27FC236}">
                    <a16:creationId xmlns:a16="http://schemas.microsoft.com/office/drawing/2014/main" id="{B4003D3C-0B75-4FA5-B1E0-6BC41D6968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Oval 11">
                <a:extLst>
                  <a:ext uri="{FF2B5EF4-FFF2-40B4-BE49-F238E27FC236}">
                    <a16:creationId xmlns:a16="http://schemas.microsoft.com/office/drawing/2014/main" id="{92654338-53C2-4A91-A1AA-B413F3410E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12">
                <a:extLst>
                  <a:ext uri="{FF2B5EF4-FFF2-40B4-BE49-F238E27FC236}">
                    <a16:creationId xmlns:a16="http://schemas.microsoft.com/office/drawing/2014/main" id="{0F76D08A-44D3-410D-902D-A47F266208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Oval 13">
                <a:extLst>
                  <a:ext uri="{FF2B5EF4-FFF2-40B4-BE49-F238E27FC236}">
                    <a16:creationId xmlns:a16="http://schemas.microsoft.com/office/drawing/2014/main" id="{9359C074-1356-4C22-A576-1D6BB7EEC9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Oval 14">
                <a:extLst>
                  <a:ext uri="{FF2B5EF4-FFF2-40B4-BE49-F238E27FC236}">
                    <a16:creationId xmlns:a16="http://schemas.microsoft.com/office/drawing/2014/main" id="{B2BD8BC3-A9AA-4171-B56E-A65A23872E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15">
                <a:extLst>
                  <a:ext uri="{FF2B5EF4-FFF2-40B4-BE49-F238E27FC236}">
                    <a16:creationId xmlns:a16="http://schemas.microsoft.com/office/drawing/2014/main" id="{62C96793-DB89-4A13-BFC7-B1130A1035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Oval 16">
                <a:extLst>
                  <a:ext uri="{FF2B5EF4-FFF2-40B4-BE49-F238E27FC236}">
                    <a16:creationId xmlns:a16="http://schemas.microsoft.com/office/drawing/2014/main" id="{DB9852C2-75D6-4E9B-A7BD-D831A61D5C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Oval 17">
                <a:extLst>
                  <a:ext uri="{FF2B5EF4-FFF2-40B4-BE49-F238E27FC236}">
                    <a16:creationId xmlns:a16="http://schemas.microsoft.com/office/drawing/2014/main" id="{67FFDC51-46D4-4473-BD49-0ECB9FD291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18">
                <a:extLst>
                  <a:ext uri="{FF2B5EF4-FFF2-40B4-BE49-F238E27FC236}">
                    <a16:creationId xmlns:a16="http://schemas.microsoft.com/office/drawing/2014/main" id="{2E922E4B-895C-4C08-A771-3E7DAF53CC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Oval 19">
                <a:extLst>
                  <a:ext uri="{FF2B5EF4-FFF2-40B4-BE49-F238E27FC236}">
                    <a16:creationId xmlns:a16="http://schemas.microsoft.com/office/drawing/2014/main" id="{550DD2D0-C23A-455C-ACF3-41C57E01DC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Oval 20">
                <a:extLst>
                  <a:ext uri="{FF2B5EF4-FFF2-40B4-BE49-F238E27FC236}">
                    <a16:creationId xmlns:a16="http://schemas.microsoft.com/office/drawing/2014/main" id="{CEBB5E46-7966-4318-A2C1-C3E498735A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77138837-2A99-4CDB-BF62-4C79FF176522}"/>
              </a:ext>
            </a:extLst>
          </p:cNvPr>
          <p:cNvGrpSpPr/>
          <p:nvPr/>
        </p:nvGrpSpPr>
        <p:grpSpPr>
          <a:xfrm>
            <a:off x="4280714" y="2705704"/>
            <a:ext cx="1883659" cy="1195248"/>
            <a:chOff x="6430073" y="5015052"/>
            <a:chExt cx="1883659" cy="1195248"/>
          </a:xfrm>
        </p:grpSpPr>
        <p:grpSp>
          <p:nvGrpSpPr>
            <p:cNvPr id="126" name="Group 5">
              <a:extLst>
                <a:ext uri="{FF2B5EF4-FFF2-40B4-BE49-F238E27FC236}">
                  <a16:creationId xmlns:a16="http://schemas.microsoft.com/office/drawing/2014/main" id="{4D0E86D4-A95B-4FF5-8681-31CE6E5B592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169213" y="5015052"/>
              <a:ext cx="1144519" cy="959028"/>
              <a:chOff x="3550" y="1917"/>
              <a:chExt cx="580" cy="486"/>
            </a:xfrm>
          </p:grpSpPr>
          <p:sp>
            <p:nvSpPr>
              <p:cNvPr id="143" name="Freeform 6">
                <a:extLst>
                  <a:ext uri="{FF2B5EF4-FFF2-40B4-BE49-F238E27FC236}">
                    <a16:creationId xmlns:a16="http://schemas.microsoft.com/office/drawing/2014/main" id="{5217D5D1-B717-469D-8763-09274FBAB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980C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7">
                <a:extLst>
                  <a:ext uri="{FF2B5EF4-FFF2-40B4-BE49-F238E27FC236}">
                    <a16:creationId xmlns:a16="http://schemas.microsoft.com/office/drawing/2014/main" id="{918A8600-A865-49BD-A134-F45D610ED0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" name="Freeform 8">
                <a:extLst>
                  <a:ext uri="{FF2B5EF4-FFF2-40B4-BE49-F238E27FC236}">
                    <a16:creationId xmlns:a16="http://schemas.microsoft.com/office/drawing/2014/main" id="{191F349D-1C23-46E6-907A-BCCBDAA895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Rectangle 9">
                <a:extLst>
                  <a:ext uri="{FF2B5EF4-FFF2-40B4-BE49-F238E27FC236}">
                    <a16:creationId xmlns:a16="http://schemas.microsoft.com/office/drawing/2014/main" id="{C9DDBFBC-8F24-4424-8423-CC7D4BEB4B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Oval 10">
                <a:extLst>
                  <a:ext uri="{FF2B5EF4-FFF2-40B4-BE49-F238E27FC236}">
                    <a16:creationId xmlns:a16="http://schemas.microsoft.com/office/drawing/2014/main" id="{6C12193C-40EA-498D-8085-D6C8C3E436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Oval 11">
                <a:extLst>
                  <a:ext uri="{FF2B5EF4-FFF2-40B4-BE49-F238E27FC236}">
                    <a16:creationId xmlns:a16="http://schemas.microsoft.com/office/drawing/2014/main" id="{EE47B943-22B8-499C-A5FA-389B6BB375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Rectangle 12">
                <a:extLst>
                  <a:ext uri="{FF2B5EF4-FFF2-40B4-BE49-F238E27FC236}">
                    <a16:creationId xmlns:a16="http://schemas.microsoft.com/office/drawing/2014/main" id="{FC6AEC10-32F8-4D1D-97EC-FF48470087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Oval 13">
                <a:extLst>
                  <a:ext uri="{FF2B5EF4-FFF2-40B4-BE49-F238E27FC236}">
                    <a16:creationId xmlns:a16="http://schemas.microsoft.com/office/drawing/2014/main" id="{2AFA8ED3-1870-4280-9FBF-09891851D8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Oval 14">
                <a:extLst>
                  <a:ext uri="{FF2B5EF4-FFF2-40B4-BE49-F238E27FC236}">
                    <a16:creationId xmlns:a16="http://schemas.microsoft.com/office/drawing/2014/main" id="{A20486D3-9F7B-45C1-8065-0607FBB977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Rectangle 15">
                <a:extLst>
                  <a:ext uri="{FF2B5EF4-FFF2-40B4-BE49-F238E27FC236}">
                    <a16:creationId xmlns:a16="http://schemas.microsoft.com/office/drawing/2014/main" id="{D43232A1-1FE2-48C7-8C1F-080C4BA6B2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Oval 16">
                <a:extLst>
                  <a:ext uri="{FF2B5EF4-FFF2-40B4-BE49-F238E27FC236}">
                    <a16:creationId xmlns:a16="http://schemas.microsoft.com/office/drawing/2014/main" id="{47083C46-D5D0-4E4B-9C38-7B8E2283F8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Oval 17">
                <a:extLst>
                  <a:ext uri="{FF2B5EF4-FFF2-40B4-BE49-F238E27FC236}">
                    <a16:creationId xmlns:a16="http://schemas.microsoft.com/office/drawing/2014/main" id="{FE82FE73-5419-4F74-8020-D764F49D3F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Rectangle 18">
                <a:extLst>
                  <a:ext uri="{FF2B5EF4-FFF2-40B4-BE49-F238E27FC236}">
                    <a16:creationId xmlns:a16="http://schemas.microsoft.com/office/drawing/2014/main" id="{960E7C52-59D5-4E39-869A-89BFFCAD07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Oval 19">
                <a:extLst>
                  <a:ext uri="{FF2B5EF4-FFF2-40B4-BE49-F238E27FC236}">
                    <a16:creationId xmlns:a16="http://schemas.microsoft.com/office/drawing/2014/main" id="{F6E8C568-8FD3-464C-B227-443E18D878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Oval 20">
                <a:extLst>
                  <a:ext uri="{FF2B5EF4-FFF2-40B4-BE49-F238E27FC236}">
                    <a16:creationId xmlns:a16="http://schemas.microsoft.com/office/drawing/2014/main" id="{F78555EC-44CA-44D4-ADC4-BA9714EEDA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27" name="Group 5">
              <a:extLst>
                <a:ext uri="{FF2B5EF4-FFF2-40B4-BE49-F238E27FC236}">
                  <a16:creationId xmlns:a16="http://schemas.microsoft.com/office/drawing/2014/main" id="{14592084-3C64-4DEB-9129-88388B69118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30073" y="5251272"/>
              <a:ext cx="1144519" cy="959028"/>
              <a:chOff x="3550" y="1917"/>
              <a:chExt cx="580" cy="486"/>
            </a:xfrm>
          </p:grpSpPr>
          <p:sp>
            <p:nvSpPr>
              <p:cNvPr id="128" name="Freeform 6">
                <a:extLst>
                  <a:ext uri="{FF2B5EF4-FFF2-40B4-BE49-F238E27FC236}">
                    <a16:creationId xmlns:a16="http://schemas.microsoft.com/office/drawing/2014/main" id="{DD662B8A-55AB-453F-9CF4-BF726AC0D2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980C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7">
                <a:extLst>
                  <a:ext uri="{FF2B5EF4-FFF2-40B4-BE49-F238E27FC236}">
                    <a16:creationId xmlns:a16="http://schemas.microsoft.com/office/drawing/2014/main" id="{E4B5D42A-2969-49C3-B147-89E9D09D4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8">
                <a:extLst>
                  <a:ext uri="{FF2B5EF4-FFF2-40B4-BE49-F238E27FC236}">
                    <a16:creationId xmlns:a16="http://schemas.microsoft.com/office/drawing/2014/main" id="{563371A3-F2F7-4E6D-821E-E85DD13ABF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Rectangle 9">
                <a:extLst>
                  <a:ext uri="{FF2B5EF4-FFF2-40B4-BE49-F238E27FC236}">
                    <a16:creationId xmlns:a16="http://schemas.microsoft.com/office/drawing/2014/main" id="{99B28A52-D754-470A-B2BF-5C1129EE85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Oval 10">
                <a:extLst>
                  <a:ext uri="{FF2B5EF4-FFF2-40B4-BE49-F238E27FC236}">
                    <a16:creationId xmlns:a16="http://schemas.microsoft.com/office/drawing/2014/main" id="{4B6B304F-AF29-4143-BD23-AE66216082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Oval 11">
                <a:extLst>
                  <a:ext uri="{FF2B5EF4-FFF2-40B4-BE49-F238E27FC236}">
                    <a16:creationId xmlns:a16="http://schemas.microsoft.com/office/drawing/2014/main" id="{CE1B9FCE-2C41-4C66-B087-1017C1B0E0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12">
                <a:extLst>
                  <a:ext uri="{FF2B5EF4-FFF2-40B4-BE49-F238E27FC236}">
                    <a16:creationId xmlns:a16="http://schemas.microsoft.com/office/drawing/2014/main" id="{E46FD0E0-FFDB-4759-9C65-82B88826C1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Oval 13">
                <a:extLst>
                  <a:ext uri="{FF2B5EF4-FFF2-40B4-BE49-F238E27FC236}">
                    <a16:creationId xmlns:a16="http://schemas.microsoft.com/office/drawing/2014/main" id="{0244AD8B-D991-4B0D-AB69-B8FBA4D9F3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Oval 14">
                <a:extLst>
                  <a:ext uri="{FF2B5EF4-FFF2-40B4-BE49-F238E27FC236}">
                    <a16:creationId xmlns:a16="http://schemas.microsoft.com/office/drawing/2014/main" id="{E7837BB3-A736-4216-8D85-08A6828461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15">
                <a:extLst>
                  <a:ext uri="{FF2B5EF4-FFF2-40B4-BE49-F238E27FC236}">
                    <a16:creationId xmlns:a16="http://schemas.microsoft.com/office/drawing/2014/main" id="{A2658723-751B-4693-AA40-78C7FE8871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Oval 16">
                <a:extLst>
                  <a:ext uri="{FF2B5EF4-FFF2-40B4-BE49-F238E27FC236}">
                    <a16:creationId xmlns:a16="http://schemas.microsoft.com/office/drawing/2014/main" id="{A0BD1612-903B-4D0C-985B-A62613C878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Oval 17">
                <a:extLst>
                  <a:ext uri="{FF2B5EF4-FFF2-40B4-BE49-F238E27FC236}">
                    <a16:creationId xmlns:a16="http://schemas.microsoft.com/office/drawing/2014/main" id="{EF06B134-F0A6-4536-82E9-7353BB22BB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18">
                <a:extLst>
                  <a:ext uri="{FF2B5EF4-FFF2-40B4-BE49-F238E27FC236}">
                    <a16:creationId xmlns:a16="http://schemas.microsoft.com/office/drawing/2014/main" id="{A3055EA5-4A7F-424D-B2D8-E32BFDBE11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Oval 19">
                <a:extLst>
                  <a:ext uri="{FF2B5EF4-FFF2-40B4-BE49-F238E27FC236}">
                    <a16:creationId xmlns:a16="http://schemas.microsoft.com/office/drawing/2014/main" id="{4FA7D467-B58C-4938-AC96-563DAC5BF1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Oval 20">
                <a:extLst>
                  <a:ext uri="{FF2B5EF4-FFF2-40B4-BE49-F238E27FC236}">
                    <a16:creationId xmlns:a16="http://schemas.microsoft.com/office/drawing/2014/main" id="{72277ABA-71BA-447B-AB77-32D990D146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D0BA6090-D940-4A47-960A-11EE4A766BF0}"/>
              </a:ext>
            </a:extLst>
          </p:cNvPr>
          <p:cNvGrpSpPr/>
          <p:nvPr/>
        </p:nvGrpSpPr>
        <p:grpSpPr>
          <a:xfrm>
            <a:off x="4521550" y="1954813"/>
            <a:ext cx="1883659" cy="1195248"/>
            <a:chOff x="6430073" y="5015052"/>
            <a:chExt cx="1883659" cy="1195248"/>
          </a:xfrm>
        </p:grpSpPr>
        <p:grpSp>
          <p:nvGrpSpPr>
            <p:cNvPr id="159" name="Group 5">
              <a:extLst>
                <a:ext uri="{FF2B5EF4-FFF2-40B4-BE49-F238E27FC236}">
                  <a16:creationId xmlns:a16="http://schemas.microsoft.com/office/drawing/2014/main" id="{0096B5C0-11FF-4F33-8E41-134C29E9889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169213" y="5015052"/>
              <a:ext cx="1144519" cy="959028"/>
              <a:chOff x="3550" y="1917"/>
              <a:chExt cx="580" cy="486"/>
            </a:xfrm>
          </p:grpSpPr>
          <p:sp>
            <p:nvSpPr>
              <p:cNvPr id="176" name="Freeform 6">
                <a:extLst>
                  <a:ext uri="{FF2B5EF4-FFF2-40B4-BE49-F238E27FC236}">
                    <a16:creationId xmlns:a16="http://schemas.microsoft.com/office/drawing/2014/main" id="{09B2547D-59A5-4FE2-9388-900CDA833F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980C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7">
                <a:extLst>
                  <a:ext uri="{FF2B5EF4-FFF2-40B4-BE49-F238E27FC236}">
                    <a16:creationId xmlns:a16="http://schemas.microsoft.com/office/drawing/2014/main" id="{6DAAFD7E-11D3-4665-BC4D-D3EBEA9873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8" name="Freeform 8">
                <a:extLst>
                  <a:ext uri="{FF2B5EF4-FFF2-40B4-BE49-F238E27FC236}">
                    <a16:creationId xmlns:a16="http://schemas.microsoft.com/office/drawing/2014/main" id="{ADA430BA-EB52-47FD-83FE-60CC9EF8DD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Rectangle 9">
                <a:extLst>
                  <a:ext uri="{FF2B5EF4-FFF2-40B4-BE49-F238E27FC236}">
                    <a16:creationId xmlns:a16="http://schemas.microsoft.com/office/drawing/2014/main" id="{6D75EB75-1F9D-4DC0-A952-A12DCC2445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Oval 10">
                <a:extLst>
                  <a:ext uri="{FF2B5EF4-FFF2-40B4-BE49-F238E27FC236}">
                    <a16:creationId xmlns:a16="http://schemas.microsoft.com/office/drawing/2014/main" id="{0BC4B6C4-5188-4206-BBBF-BF815B6E23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Oval 11">
                <a:extLst>
                  <a:ext uri="{FF2B5EF4-FFF2-40B4-BE49-F238E27FC236}">
                    <a16:creationId xmlns:a16="http://schemas.microsoft.com/office/drawing/2014/main" id="{2F2673D0-2B44-4365-92B6-D646C5E630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Rectangle 12">
                <a:extLst>
                  <a:ext uri="{FF2B5EF4-FFF2-40B4-BE49-F238E27FC236}">
                    <a16:creationId xmlns:a16="http://schemas.microsoft.com/office/drawing/2014/main" id="{9477CF01-9D7E-4DBC-82AB-516A40C12F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Oval 13">
                <a:extLst>
                  <a:ext uri="{FF2B5EF4-FFF2-40B4-BE49-F238E27FC236}">
                    <a16:creationId xmlns:a16="http://schemas.microsoft.com/office/drawing/2014/main" id="{C5FE8E1F-088D-45AE-8246-1634E96EA1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Oval 14">
                <a:extLst>
                  <a:ext uri="{FF2B5EF4-FFF2-40B4-BE49-F238E27FC236}">
                    <a16:creationId xmlns:a16="http://schemas.microsoft.com/office/drawing/2014/main" id="{988E4E38-9C9B-41F6-943A-72DD4182D6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Rectangle 15">
                <a:extLst>
                  <a:ext uri="{FF2B5EF4-FFF2-40B4-BE49-F238E27FC236}">
                    <a16:creationId xmlns:a16="http://schemas.microsoft.com/office/drawing/2014/main" id="{9D19660D-3C48-44BE-9EB6-F73F5516BB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Oval 16">
                <a:extLst>
                  <a:ext uri="{FF2B5EF4-FFF2-40B4-BE49-F238E27FC236}">
                    <a16:creationId xmlns:a16="http://schemas.microsoft.com/office/drawing/2014/main" id="{D998350C-1B52-4654-BFAD-7D045FDF7C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Oval 17">
                <a:extLst>
                  <a:ext uri="{FF2B5EF4-FFF2-40B4-BE49-F238E27FC236}">
                    <a16:creationId xmlns:a16="http://schemas.microsoft.com/office/drawing/2014/main" id="{07EAA68A-6951-4437-81C1-7552D4A72F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Rectangle 18">
                <a:extLst>
                  <a:ext uri="{FF2B5EF4-FFF2-40B4-BE49-F238E27FC236}">
                    <a16:creationId xmlns:a16="http://schemas.microsoft.com/office/drawing/2014/main" id="{C72A3C26-F587-4E49-A7BC-FBEB5A2529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Oval 19">
                <a:extLst>
                  <a:ext uri="{FF2B5EF4-FFF2-40B4-BE49-F238E27FC236}">
                    <a16:creationId xmlns:a16="http://schemas.microsoft.com/office/drawing/2014/main" id="{98590686-784A-4CA7-89DB-A74BD1F716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Oval 20">
                <a:extLst>
                  <a:ext uri="{FF2B5EF4-FFF2-40B4-BE49-F238E27FC236}">
                    <a16:creationId xmlns:a16="http://schemas.microsoft.com/office/drawing/2014/main" id="{B9B173BE-BBBC-4F46-99E3-70C3622DAF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0" name="Group 5">
              <a:extLst>
                <a:ext uri="{FF2B5EF4-FFF2-40B4-BE49-F238E27FC236}">
                  <a16:creationId xmlns:a16="http://schemas.microsoft.com/office/drawing/2014/main" id="{A1BBF056-8919-4162-8081-0183A66CD65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30073" y="5251272"/>
              <a:ext cx="1144519" cy="959028"/>
              <a:chOff x="3550" y="1917"/>
              <a:chExt cx="580" cy="486"/>
            </a:xfrm>
          </p:grpSpPr>
          <p:sp>
            <p:nvSpPr>
              <p:cNvPr id="161" name="Freeform 6">
                <a:extLst>
                  <a:ext uri="{FF2B5EF4-FFF2-40B4-BE49-F238E27FC236}">
                    <a16:creationId xmlns:a16="http://schemas.microsoft.com/office/drawing/2014/main" id="{B15762FE-114C-4A7D-849C-DB8CA3064F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D6A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7">
                <a:extLst>
                  <a:ext uri="{FF2B5EF4-FFF2-40B4-BE49-F238E27FC236}">
                    <a16:creationId xmlns:a16="http://schemas.microsoft.com/office/drawing/2014/main" id="{99E14DE7-C840-4F4E-B0AB-13F42EC466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" name="Freeform 8">
                <a:extLst>
                  <a:ext uri="{FF2B5EF4-FFF2-40B4-BE49-F238E27FC236}">
                    <a16:creationId xmlns:a16="http://schemas.microsoft.com/office/drawing/2014/main" id="{DDE763C0-4D44-4CA1-9623-E0C03545E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Rectangle 9">
                <a:extLst>
                  <a:ext uri="{FF2B5EF4-FFF2-40B4-BE49-F238E27FC236}">
                    <a16:creationId xmlns:a16="http://schemas.microsoft.com/office/drawing/2014/main" id="{63AC2D48-DA89-4716-88DB-7ECBCD7284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Oval 10">
                <a:extLst>
                  <a:ext uri="{FF2B5EF4-FFF2-40B4-BE49-F238E27FC236}">
                    <a16:creationId xmlns:a16="http://schemas.microsoft.com/office/drawing/2014/main" id="{3DE79BF2-CEE6-49E7-ADFA-38AA6A5632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Oval 11">
                <a:extLst>
                  <a:ext uri="{FF2B5EF4-FFF2-40B4-BE49-F238E27FC236}">
                    <a16:creationId xmlns:a16="http://schemas.microsoft.com/office/drawing/2014/main" id="{08897AB5-AEE4-4225-88F0-42AAEFE030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Rectangle 12">
                <a:extLst>
                  <a:ext uri="{FF2B5EF4-FFF2-40B4-BE49-F238E27FC236}">
                    <a16:creationId xmlns:a16="http://schemas.microsoft.com/office/drawing/2014/main" id="{2CD44076-728F-498C-AB6A-250929428A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Oval 13">
                <a:extLst>
                  <a:ext uri="{FF2B5EF4-FFF2-40B4-BE49-F238E27FC236}">
                    <a16:creationId xmlns:a16="http://schemas.microsoft.com/office/drawing/2014/main" id="{0FAD1869-FE1F-48EE-A6B4-D334EF6124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Oval 14">
                <a:extLst>
                  <a:ext uri="{FF2B5EF4-FFF2-40B4-BE49-F238E27FC236}">
                    <a16:creationId xmlns:a16="http://schemas.microsoft.com/office/drawing/2014/main" id="{49A65CB2-13C2-416C-B218-A32B8A1DB6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Rectangle 15">
                <a:extLst>
                  <a:ext uri="{FF2B5EF4-FFF2-40B4-BE49-F238E27FC236}">
                    <a16:creationId xmlns:a16="http://schemas.microsoft.com/office/drawing/2014/main" id="{1312EA72-A8DD-492D-B038-CA2492C755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Oval 16">
                <a:extLst>
                  <a:ext uri="{FF2B5EF4-FFF2-40B4-BE49-F238E27FC236}">
                    <a16:creationId xmlns:a16="http://schemas.microsoft.com/office/drawing/2014/main" id="{FD1091A7-2FAD-44CD-987F-E2BCCCE7A1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Oval 17">
                <a:extLst>
                  <a:ext uri="{FF2B5EF4-FFF2-40B4-BE49-F238E27FC236}">
                    <a16:creationId xmlns:a16="http://schemas.microsoft.com/office/drawing/2014/main" id="{33FE36F6-556B-47D8-AF3F-6999796A94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Rectangle 18">
                <a:extLst>
                  <a:ext uri="{FF2B5EF4-FFF2-40B4-BE49-F238E27FC236}">
                    <a16:creationId xmlns:a16="http://schemas.microsoft.com/office/drawing/2014/main" id="{EF041FCF-599C-400F-844B-37F911778D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Oval 19">
                <a:extLst>
                  <a:ext uri="{FF2B5EF4-FFF2-40B4-BE49-F238E27FC236}">
                    <a16:creationId xmlns:a16="http://schemas.microsoft.com/office/drawing/2014/main" id="{68AA0F4E-E3BC-468F-8F26-472BDA4379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Oval 20">
                <a:extLst>
                  <a:ext uri="{FF2B5EF4-FFF2-40B4-BE49-F238E27FC236}">
                    <a16:creationId xmlns:a16="http://schemas.microsoft.com/office/drawing/2014/main" id="{3FD4F33C-7A09-4619-A687-EB86E799D3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87A8A55C-D458-49CB-8392-39E6E4B4FAE0}"/>
              </a:ext>
            </a:extLst>
          </p:cNvPr>
          <p:cNvGrpSpPr/>
          <p:nvPr/>
        </p:nvGrpSpPr>
        <p:grpSpPr>
          <a:xfrm>
            <a:off x="4680816" y="1219781"/>
            <a:ext cx="1883659" cy="1195248"/>
            <a:chOff x="6430073" y="5015052"/>
            <a:chExt cx="1883659" cy="1195248"/>
          </a:xfrm>
        </p:grpSpPr>
        <p:grpSp>
          <p:nvGrpSpPr>
            <p:cNvPr id="192" name="Group 5">
              <a:extLst>
                <a:ext uri="{FF2B5EF4-FFF2-40B4-BE49-F238E27FC236}">
                  <a16:creationId xmlns:a16="http://schemas.microsoft.com/office/drawing/2014/main" id="{85C025A8-BF3A-4369-98B8-042B8AA3B79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169213" y="5015052"/>
              <a:ext cx="1144519" cy="959028"/>
              <a:chOff x="3550" y="1917"/>
              <a:chExt cx="580" cy="486"/>
            </a:xfrm>
          </p:grpSpPr>
          <p:sp>
            <p:nvSpPr>
              <p:cNvPr id="209" name="Freeform 6">
                <a:extLst>
                  <a:ext uri="{FF2B5EF4-FFF2-40B4-BE49-F238E27FC236}">
                    <a16:creationId xmlns:a16="http://schemas.microsoft.com/office/drawing/2014/main" id="{EDAB9F63-19D5-4E31-BE25-BDE1B41C22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980C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7">
                <a:extLst>
                  <a:ext uri="{FF2B5EF4-FFF2-40B4-BE49-F238E27FC236}">
                    <a16:creationId xmlns:a16="http://schemas.microsoft.com/office/drawing/2014/main" id="{7262D75A-607A-48E9-8ED4-D4765A55A5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1" name="Freeform 8">
                <a:extLst>
                  <a:ext uri="{FF2B5EF4-FFF2-40B4-BE49-F238E27FC236}">
                    <a16:creationId xmlns:a16="http://schemas.microsoft.com/office/drawing/2014/main" id="{4FC8E2F9-D687-4223-B1DE-47E7780BA7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Rectangle 9">
                <a:extLst>
                  <a:ext uri="{FF2B5EF4-FFF2-40B4-BE49-F238E27FC236}">
                    <a16:creationId xmlns:a16="http://schemas.microsoft.com/office/drawing/2014/main" id="{770F3FA7-9244-4D2F-A1CE-5A81BF809B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Oval 10">
                <a:extLst>
                  <a:ext uri="{FF2B5EF4-FFF2-40B4-BE49-F238E27FC236}">
                    <a16:creationId xmlns:a16="http://schemas.microsoft.com/office/drawing/2014/main" id="{04EFBCFB-AB67-4AA6-8E96-C891A1163F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Oval 11">
                <a:extLst>
                  <a:ext uri="{FF2B5EF4-FFF2-40B4-BE49-F238E27FC236}">
                    <a16:creationId xmlns:a16="http://schemas.microsoft.com/office/drawing/2014/main" id="{AEC517CF-E8EB-4A8A-909C-3A7DA366F6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Rectangle 12">
                <a:extLst>
                  <a:ext uri="{FF2B5EF4-FFF2-40B4-BE49-F238E27FC236}">
                    <a16:creationId xmlns:a16="http://schemas.microsoft.com/office/drawing/2014/main" id="{DA9F3CB7-349A-4EBD-B7BD-B940511538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Oval 13">
                <a:extLst>
                  <a:ext uri="{FF2B5EF4-FFF2-40B4-BE49-F238E27FC236}">
                    <a16:creationId xmlns:a16="http://schemas.microsoft.com/office/drawing/2014/main" id="{FFF5414D-8F17-4D99-9006-32BCB2270F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Oval 14">
                <a:extLst>
                  <a:ext uri="{FF2B5EF4-FFF2-40B4-BE49-F238E27FC236}">
                    <a16:creationId xmlns:a16="http://schemas.microsoft.com/office/drawing/2014/main" id="{B69A30B5-F53C-4275-B74D-9B94EA6735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Rectangle 15">
                <a:extLst>
                  <a:ext uri="{FF2B5EF4-FFF2-40B4-BE49-F238E27FC236}">
                    <a16:creationId xmlns:a16="http://schemas.microsoft.com/office/drawing/2014/main" id="{778D7E11-6E60-49B1-8722-AB987E4F66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Oval 16">
                <a:extLst>
                  <a:ext uri="{FF2B5EF4-FFF2-40B4-BE49-F238E27FC236}">
                    <a16:creationId xmlns:a16="http://schemas.microsoft.com/office/drawing/2014/main" id="{5105DC20-DD78-4066-86B4-5A58D9A945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Oval 17">
                <a:extLst>
                  <a:ext uri="{FF2B5EF4-FFF2-40B4-BE49-F238E27FC236}">
                    <a16:creationId xmlns:a16="http://schemas.microsoft.com/office/drawing/2014/main" id="{7E4C88E7-8918-4D74-9737-5E1B7CE82D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Rectangle 18">
                <a:extLst>
                  <a:ext uri="{FF2B5EF4-FFF2-40B4-BE49-F238E27FC236}">
                    <a16:creationId xmlns:a16="http://schemas.microsoft.com/office/drawing/2014/main" id="{48E21497-099D-45E8-89B7-864B4DC0A8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Oval 19">
                <a:extLst>
                  <a:ext uri="{FF2B5EF4-FFF2-40B4-BE49-F238E27FC236}">
                    <a16:creationId xmlns:a16="http://schemas.microsoft.com/office/drawing/2014/main" id="{F24266FF-D5B2-4202-80BA-5D81015842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Oval 20">
                <a:extLst>
                  <a:ext uri="{FF2B5EF4-FFF2-40B4-BE49-F238E27FC236}">
                    <a16:creationId xmlns:a16="http://schemas.microsoft.com/office/drawing/2014/main" id="{574F0918-7B65-4FBA-B05B-056C3F35B7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3" name="Group 5">
              <a:extLst>
                <a:ext uri="{FF2B5EF4-FFF2-40B4-BE49-F238E27FC236}">
                  <a16:creationId xmlns:a16="http://schemas.microsoft.com/office/drawing/2014/main" id="{9EC27006-C007-4CAE-897D-C5E35589A69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30073" y="5251272"/>
              <a:ext cx="1144519" cy="959028"/>
              <a:chOff x="3550" y="1917"/>
              <a:chExt cx="580" cy="486"/>
            </a:xfrm>
          </p:grpSpPr>
          <p:sp>
            <p:nvSpPr>
              <p:cNvPr id="194" name="Freeform 6">
                <a:extLst>
                  <a:ext uri="{FF2B5EF4-FFF2-40B4-BE49-F238E27FC236}">
                    <a16:creationId xmlns:a16="http://schemas.microsoft.com/office/drawing/2014/main" id="{2ACB29ED-D0CE-4B50-B80D-49385E61CD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980C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7">
                <a:extLst>
                  <a:ext uri="{FF2B5EF4-FFF2-40B4-BE49-F238E27FC236}">
                    <a16:creationId xmlns:a16="http://schemas.microsoft.com/office/drawing/2014/main" id="{FF7E27F3-1F7B-4DDE-B8DC-C547712154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6" name="Freeform 8">
                <a:extLst>
                  <a:ext uri="{FF2B5EF4-FFF2-40B4-BE49-F238E27FC236}">
                    <a16:creationId xmlns:a16="http://schemas.microsoft.com/office/drawing/2014/main" id="{3C0EA8CC-A7F2-4BBA-960D-B0C6D664A4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Rectangle 9">
                <a:extLst>
                  <a:ext uri="{FF2B5EF4-FFF2-40B4-BE49-F238E27FC236}">
                    <a16:creationId xmlns:a16="http://schemas.microsoft.com/office/drawing/2014/main" id="{BA1379C5-FA73-40AC-A757-E136BB43B5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Oval 10">
                <a:extLst>
                  <a:ext uri="{FF2B5EF4-FFF2-40B4-BE49-F238E27FC236}">
                    <a16:creationId xmlns:a16="http://schemas.microsoft.com/office/drawing/2014/main" id="{1808CCE2-DCBF-4DB5-81ED-A7585022DB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Oval 11">
                <a:extLst>
                  <a:ext uri="{FF2B5EF4-FFF2-40B4-BE49-F238E27FC236}">
                    <a16:creationId xmlns:a16="http://schemas.microsoft.com/office/drawing/2014/main" id="{16B0CD17-B3A6-4D0B-BF6E-4A8FE6D408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Rectangle 12">
                <a:extLst>
                  <a:ext uri="{FF2B5EF4-FFF2-40B4-BE49-F238E27FC236}">
                    <a16:creationId xmlns:a16="http://schemas.microsoft.com/office/drawing/2014/main" id="{0433D487-CBF8-4F6D-AE81-59F09C0051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Oval 13">
                <a:extLst>
                  <a:ext uri="{FF2B5EF4-FFF2-40B4-BE49-F238E27FC236}">
                    <a16:creationId xmlns:a16="http://schemas.microsoft.com/office/drawing/2014/main" id="{767CC42C-7058-49F4-B049-0C8EC5CA87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Oval 14">
                <a:extLst>
                  <a:ext uri="{FF2B5EF4-FFF2-40B4-BE49-F238E27FC236}">
                    <a16:creationId xmlns:a16="http://schemas.microsoft.com/office/drawing/2014/main" id="{C6474A5E-E3DD-4DEE-A183-1E013EB22F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Rectangle 15">
                <a:extLst>
                  <a:ext uri="{FF2B5EF4-FFF2-40B4-BE49-F238E27FC236}">
                    <a16:creationId xmlns:a16="http://schemas.microsoft.com/office/drawing/2014/main" id="{734720ED-9BEA-4701-BFAC-5633965920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Oval 16">
                <a:extLst>
                  <a:ext uri="{FF2B5EF4-FFF2-40B4-BE49-F238E27FC236}">
                    <a16:creationId xmlns:a16="http://schemas.microsoft.com/office/drawing/2014/main" id="{9B0A734C-B292-45A1-8418-3812B6FD40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Oval 17">
                <a:extLst>
                  <a:ext uri="{FF2B5EF4-FFF2-40B4-BE49-F238E27FC236}">
                    <a16:creationId xmlns:a16="http://schemas.microsoft.com/office/drawing/2014/main" id="{4745B5C8-8FFC-4551-97E0-EF15274A78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Rectangle 18">
                <a:extLst>
                  <a:ext uri="{FF2B5EF4-FFF2-40B4-BE49-F238E27FC236}">
                    <a16:creationId xmlns:a16="http://schemas.microsoft.com/office/drawing/2014/main" id="{39134806-F847-4776-A04C-048E1C3E1C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Oval 19">
                <a:extLst>
                  <a:ext uri="{FF2B5EF4-FFF2-40B4-BE49-F238E27FC236}">
                    <a16:creationId xmlns:a16="http://schemas.microsoft.com/office/drawing/2014/main" id="{0889D2B1-6DFD-45F4-9D21-DA94B3EA37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Oval 20">
                <a:extLst>
                  <a:ext uri="{FF2B5EF4-FFF2-40B4-BE49-F238E27FC236}">
                    <a16:creationId xmlns:a16="http://schemas.microsoft.com/office/drawing/2014/main" id="{ED624593-2E14-45BB-86E3-51E08B0ED9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31" name="Oval 230">
            <a:extLst>
              <a:ext uri="{FF2B5EF4-FFF2-40B4-BE49-F238E27FC236}">
                <a16:creationId xmlns:a16="http://schemas.microsoft.com/office/drawing/2014/main" id="{492AB2D6-43C3-4240-BC69-135068849A75}"/>
              </a:ext>
            </a:extLst>
          </p:cNvPr>
          <p:cNvSpPr/>
          <p:nvPr/>
        </p:nvSpPr>
        <p:spPr>
          <a:xfrm>
            <a:off x="729262" y="1593192"/>
            <a:ext cx="412017" cy="412017"/>
          </a:xfrm>
          <a:prstGeom prst="ellipse">
            <a:avLst/>
          </a:prstGeom>
          <a:solidFill>
            <a:srgbClr val="D01012"/>
          </a:solidFill>
          <a:ln>
            <a:noFill/>
          </a:ln>
          <a:effectLst>
            <a:outerShdw dist="254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2" name="Oval 231">
            <a:extLst>
              <a:ext uri="{FF2B5EF4-FFF2-40B4-BE49-F238E27FC236}">
                <a16:creationId xmlns:a16="http://schemas.microsoft.com/office/drawing/2014/main" id="{2696E278-8B37-492C-A3AA-01A971783F00}"/>
              </a:ext>
            </a:extLst>
          </p:cNvPr>
          <p:cNvSpPr/>
          <p:nvPr/>
        </p:nvSpPr>
        <p:spPr>
          <a:xfrm>
            <a:off x="729262" y="2379202"/>
            <a:ext cx="412017" cy="412017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254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3" name="Oval 232">
            <a:extLst>
              <a:ext uri="{FF2B5EF4-FFF2-40B4-BE49-F238E27FC236}">
                <a16:creationId xmlns:a16="http://schemas.microsoft.com/office/drawing/2014/main" id="{5871374E-8C58-4049-945C-4EE88448486B}"/>
              </a:ext>
            </a:extLst>
          </p:cNvPr>
          <p:cNvSpPr/>
          <p:nvPr/>
        </p:nvSpPr>
        <p:spPr>
          <a:xfrm>
            <a:off x="729262" y="3232542"/>
            <a:ext cx="412017" cy="412017"/>
          </a:xfrm>
          <a:prstGeom prst="ellipse">
            <a:avLst/>
          </a:prstGeom>
          <a:solidFill>
            <a:srgbClr val="D01012"/>
          </a:solidFill>
          <a:ln>
            <a:noFill/>
          </a:ln>
          <a:effectLst>
            <a:outerShdw dist="254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4" name="Oval 233">
            <a:extLst>
              <a:ext uri="{FF2B5EF4-FFF2-40B4-BE49-F238E27FC236}">
                <a16:creationId xmlns:a16="http://schemas.microsoft.com/office/drawing/2014/main" id="{75DF0DF6-0945-4742-8963-2DA8BEA7A4BA}"/>
              </a:ext>
            </a:extLst>
          </p:cNvPr>
          <p:cNvSpPr/>
          <p:nvPr/>
        </p:nvSpPr>
        <p:spPr>
          <a:xfrm>
            <a:off x="761536" y="3997365"/>
            <a:ext cx="412017" cy="412017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254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1373DE74-B4E7-4431-BE4E-A935FEE56AFC}"/>
              </a:ext>
            </a:extLst>
          </p:cNvPr>
          <p:cNvSpPr/>
          <p:nvPr/>
        </p:nvSpPr>
        <p:spPr>
          <a:xfrm>
            <a:off x="729261" y="4770553"/>
            <a:ext cx="412017" cy="412017"/>
          </a:xfrm>
          <a:prstGeom prst="ellipse">
            <a:avLst/>
          </a:prstGeom>
          <a:solidFill>
            <a:srgbClr val="D01012"/>
          </a:solidFill>
          <a:ln>
            <a:noFill/>
          </a:ln>
          <a:effectLst>
            <a:outerShdw dist="254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1" name="Group 240">
            <a:extLst>
              <a:ext uri="{FF2B5EF4-FFF2-40B4-BE49-F238E27FC236}">
                <a16:creationId xmlns:a16="http://schemas.microsoft.com/office/drawing/2014/main" id="{5B9EC1E3-50D7-4474-9B43-6CE7563DE9A2}"/>
              </a:ext>
            </a:extLst>
          </p:cNvPr>
          <p:cNvGrpSpPr/>
          <p:nvPr/>
        </p:nvGrpSpPr>
        <p:grpSpPr>
          <a:xfrm>
            <a:off x="817313" y="2495559"/>
            <a:ext cx="235913" cy="178149"/>
            <a:chOff x="10531475" y="5465763"/>
            <a:chExt cx="771525" cy="582613"/>
          </a:xfrm>
          <a:effectLst>
            <a:outerShdw dist="254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43" name="Freeform 265">
              <a:extLst>
                <a:ext uri="{FF2B5EF4-FFF2-40B4-BE49-F238E27FC236}">
                  <a16:creationId xmlns:a16="http://schemas.microsoft.com/office/drawing/2014/main" id="{D2717EDA-E92F-42BB-B59C-46B2F0F35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771525" cy="582613"/>
            </a:xfrm>
            <a:custGeom>
              <a:avLst/>
              <a:gdLst>
                <a:gd name="T0" fmla="*/ 179 w 204"/>
                <a:gd name="T1" fmla="*/ 0 h 154"/>
                <a:gd name="T2" fmla="*/ 25 w 204"/>
                <a:gd name="T3" fmla="*/ 0 h 154"/>
                <a:gd name="T4" fmla="*/ 0 w 204"/>
                <a:gd name="T5" fmla="*/ 26 h 154"/>
                <a:gd name="T6" fmla="*/ 0 w 204"/>
                <a:gd name="T7" fmla="*/ 147 h 154"/>
                <a:gd name="T8" fmla="*/ 6 w 204"/>
                <a:gd name="T9" fmla="*/ 154 h 154"/>
                <a:gd name="T10" fmla="*/ 198 w 204"/>
                <a:gd name="T11" fmla="*/ 154 h 154"/>
                <a:gd name="T12" fmla="*/ 204 w 204"/>
                <a:gd name="T13" fmla="*/ 147 h 154"/>
                <a:gd name="T14" fmla="*/ 204 w 204"/>
                <a:gd name="T15" fmla="*/ 26 h 154"/>
                <a:gd name="T16" fmla="*/ 179 w 204"/>
                <a:gd name="T17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154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51"/>
                    <a:pt x="2" y="154"/>
                    <a:pt x="6" y="154"/>
                  </a:cubicBezTo>
                  <a:cubicBezTo>
                    <a:pt x="198" y="154"/>
                    <a:pt x="198" y="154"/>
                    <a:pt x="198" y="154"/>
                  </a:cubicBezTo>
                  <a:cubicBezTo>
                    <a:pt x="202" y="154"/>
                    <a:pt x="204" y="151"/>
                    <a:pt x="204" y="147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059B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4" name="Freeform 266">
              <a:extLst>
                <a:ext uri="{FF2B5EF4-FFF2-40B4-BE49-F238E27FC236}">
                  <a16:creationId xmlns:a16="http://schemas.microsoft.com/office/drawing/2014/main" id="{0A4BE08B-33DD-4DCE-86B2-EC77C7ECE7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525463" cy="530225"/>
            </a:xfrm>
            <a:custGeom>
              <a:avLst/>
              <a:gdLst>
                <a:gd name="T0" fmla="*/ 139 w 139"/>
                <a:gd name="T1" fmla="*/ 0 h 140"/>
                <a:gd name="T2" fmla="*/ 25 w 139"/>
                <a:gd name="T3" fmla="*/ 0 h 140"/>
                <a:gd name="T4" fmla="*/ 0 w 139"/>
                <a:gd name="T5" fmla="*/ 26 h 140"/>
                <a:gd name="T6" fmla="*/ 0 w 139"/>
                <a:gd name="T7" fmla="*/ 140 h 140"/>
                <a:gd name="T8" fmla="*/ 139 w 139"/>
                <a:gd name="T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140">
                  <a:moveTo>
                    <a:pt x="13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140"/>
                    <a:pt x="0" y="140"/>
                    <a:pt x="0" y="140"/>
                  </a:cubicBezTo>
                  <a:lnTo>
                    <a:pt x="139" y="0"/>
                  </a:lnTo>
                  <a:close/>
                </a:path>
              </a:pathLst>
            </a:cu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5" name="Freeform 267">
              <a:extLst>
                <a:ext uri="{FF2B5EF4-FFF2-40B4-BE49-F238E27FC236}">
                  <a16:creationId xmlns:a16="http://schemas.microsoft.com/office/drawing/2014/main" id="{3C221E0B-9274-4C11-BB35-1698DF7CEC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771525" cy="147638"/>
            </a:xfrm>
            <a:custGeom>
              <a:avLst/>
              <a:gdLst>
                <a:gd name="T0" fmla="*/ 179 w 204"/>
                <a:gd name="T1" fmla="*/ 0 h 39"/>
                <a:gd name="T2" fmla="*/ 25 w 204"/>
                <a:gd name="T3" fmla="*/ 0 h 39"/>
                <a:gd name="T4" fmla="*/ 0 w 204"/>
                <a:gd name="T5" fmla="*/ 26 h 39"/>
                <a:gd name="T6" fmla="*/ 0 w 204"/>
                <a:gd name="T7" fmla="*/ 39 h 39"/>
                <a:gd name="T8" fmla="*/ 204 w 204"/>
                <a:gd name="T9" fmla="*/ 39 h 39"/>
                <a:gd name="T10" fmla="*/ 204 w 204"/>
                <a:gd name="T11" fmla="*/ 26 h 39"/>
                <a:gd name="T12" fmla="*/ 179 w 204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204" y="39"/>
                    <a:pt x="204" y="39"/>
                    <a:pt x="204" y="39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6" name="Oval 268">
              <a:extLst>
                <a:ext uri="{FF2B5EF4-FFF2-40B4-BE49-F238E27FC236}">
                  <a16:creationId xmlns:a16="http://schemas.microsoft.com/office/drawing/2014/main" id="{A69162C9-956B-4489-B425-1079CE433B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15613" y="5514975"/>
              <a:ext cx="49213" cy="49213"/>
            </a:xfrm>
            <a:prstGeom prst="ellipse">
              <a:avLst/>
            </a:pr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7" name="Oval 269">
              <a:extLst>
                <a:ext uri="{FF2B5EF4-FFF2-40B4-BE49-F238E27FC236}">
                  <a16:creationId xmlns:a16="http://schemas.microsoft.com/office/drawing/2014/main" id="{D0F8E8E7-48F6-4F42-9C3A-5EEBB975C1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14038" y="5514975"/>
              <a:ext cx="44450" cy="49213"/>
            </a:xfrm>
            <a:prstGeom prst="ellipse">
              <a:avLst/>
            </a:pr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8" name="Oval 270">
              <a:extLst>
                <a:ext uri="{FF2B5EF4-FFF2-40B4-BE49-F238E27FC236}">
                  <a16:creationId xmlns:a16="http://schemas.microsoft.com/office/drawing/2014/main" id="{DB67D719-2F86-4DB1-9397-E91EDA9683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07700" y="5514975"/>
              <a:ext cx="49213" cy="49213"/>
            </a:xfrm>
            <a:prstGeom prst="ellipse">
              <a:avLst/>
            </a:prstGeom>
            <a:solidFill>
              <a:srgbClr val="4AC3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9" name="Freeform 271">
              <a:extLst>
                <a:ext uri="{FF2B5EF4-FFF2-40B4-BE49-F238E27FC236}">
                  <a16:creationId xmlns:a16="http://schemas.microsoft.com/office/drawing/2014/main" id="{D0A103E3-3933-4232-801E-3E0FD80CC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725" y="5757863"/>
              <a:ext cx="582613" cy="290513"/>
            </a:xfrm>
            <a:custGeom>
              <a:avLst/>
              <a:gdLst>
                <a:gd name="T0" fmla="*/ 132 w 154"/>
                <a:gd name="T1" fmla="*/ 61 h 77"/>
                <a:gd name="T2" fmla="*/ 127 w 154"/>
                <a:gd name="T3" fmla="*/ 49 h 77"/>
                <a:gd name="T4" fmla="*/ 138 w 154"/>
                <a:gd name="T5" fmla="*/ 38 h 77"/>
                <a:gd name="T6" fmla="*/ 138 w 154"/>
                <a:gd name="T7" fmla="*/ 29 h 77"/>
                <a:gd name="T8" fmla="*/ 125 w 154"/>
                <a:gd name="T9" fmla="*/ 16 h 77"/>
                <a:gd name="T10" fmla="*/ 115 w 154"/>
                <a:gd name="T11" fmla="*/ 16 h 77"/>
                <a:gd name="T12" fmla="*/ 105 w 154"/>
                <a:gd name="T13" fmla="*/ 26 h 77"/>
                <a:gd name="T14" fmla="*/ 93 w 154"/>
                <a:gd name="T15" fmla="*/ 21 h 77"/>
                <a:gd name="T16" fmla="*/ 93 w 154"/>
                <a:gd name="T17" fmla="*/ 6 h 77"/>
                <a:gd name="T18" fmla="*/ 87 w 154"/>
                <a:gd name="T19" fmla="*/ 0 h 77"/>
                <a:gd name="T20" fmla="*/ 67 w 154"/>
                <a:gd name="T21" fmla="*/ 0 h 77"/>
                <a:gd name="T22" fmla="*/ 61 w 154"/>
                <a:gd name="T23" fmla="*/ 6 h 77"/>
                <a:gd name="T24" fmla="*/ 61 w 154"/>
                <a:gd name="T25" fmla="*/ 21 h 77"/>
                <a:gd name="T26" fmla="*/ 49 w 154"/>
                <a:gd name="T27" fmla="*/ 26 h 77"/>
                <a:gd name="T28" fmla="*/ 39 w 154"/>
                <a:gd name="T29" fmla="*/ 16 h 77"/>
                <a:gd name="T30" fmla="*/ 29 w 154"/>
                <a:gd name="T31" fmla="*/ 16 h 77"/>
                <a:gd name="T32" fmla="*/ 16 w 154"/>
                <a:gd name="T33" fmla="*/ 29 h 77"/>
                <a:gd name="T34" fmla="*/ 16 w 154"/>
                <a:gd name="T35" fmla="*/ 38 h 77"/>
                <a:gd name="T36" fmla="*/ 27 w 154"/>
                <a:gd name="T37" fmla="*/ 49 h 77"/>
                <a:gd name="T38" fmla="*/ 22 w 154"/>
                <a:gd name="T39" fmla="*/ 61 h 77"/>
                <a:gd name="T40" fmla="*/ 7 w 154"/>
                <a:gd name="T41" fmla="*/ 61 h 77"/>
                <a:gd name="T42" fmla="*/ 0 w 154"/>
                <a:gd name="T43" fmla="*/ 67 h 77"/>
                <a:gd name="T44" fmla="*/ 0 w 154"/>
                <a:gd name="T45" fmla="*/ 77 h 77"/>
                <a:gd name="T46" fmla="*/ 154 w 154"/>
                <a:gd name="T47" fmla="*/ 77 h 77"/>
                <a:gd name="T48" fmla="*/ 154 w 154"/>
                <a:gd name="T49" fmla="*/ 67 h 77"/>
                <a:gd name="T50" fmla="*/ 147 w 154"/>
                <a:gd name="T51" fmla="*/ 61 h 77"/>
                <a:gd name="T52" fmla="*/ 132 w 154"/>
                <a:gd name="T53" fmla="*/ 6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4" h="77">
                  <a:moveTo>
                    <a:pt x="132" y="61"/>
                  </a:moveTo>
                  <a:cubicBezTo>
                    <a:pt x="131" y="57"/>
                    <a:pt x="129" y="53"/>
                    <a:pt x="127" y="49"/>
                  </a:cubicBezTo>
                  <a:cubicBezTo>
                    <a:pt x="138" y="38"/>
                    <a:pt x="138" y="38"/>
                    <a:pt x="138" y="38"/>
                  </a:cubicBezTo>
                  <a:cubicBezTo>
                    <a:pt x="141" y="36"/>
                    <a:pt x="141" y="32"/>
                    <a:pt x="138" y="29"/>
                  </a:cubicBezTo>
                  <a:cubicBezTo>
                    <a:pt x="125" y="16"/>
                    <a:pt x="125" y="16"/>
                    <a:pt x="125" y="16"/>
                  </a:cubicBezTo>
                  <a:cubicBezTo>
                    <a:pt x="122" y="13"/>
                    <a:pt x="118" y="13"/>
                    <a:pt x="115" y="16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1" y="24"/>
                    <a:pt x="97" y="23"/>
                    <a:pt x="93" y="21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93" y="3"/>
                    <a:pt x="90" y="0"/>
                    <a:pt x="8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4" y="0"/>
                    <a:pt x="61" y="3"/>
                    <a:pt x="61" y="6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57" y="23"/>
                    <a:pt x="53" y="24"/>
                    <a:pt x="49" y="2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3"/>
                    <a:pt x="32" y="13"/>
                    <a:pt x="29" y="16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3" y="32"/>
                    <a:pt x="13" y="36"/>
                    <a:pt x="16" y="38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5" y="53"/>
                    <a:pt x="23" y="57"/>
                    <a:pt x="22" y="61"/>
                  </a:cubicBezTo>
                  <a:cubicBezTo>
                    <a:pt x="7" y="61"/>
                    <a:pt x="7" y="61"/>
                    <a:pt x="7" y="61"/>
                  </a:cubicBezTo>
                  <a:cubicBezTo>
                    <a:pt x="3" y="61"/>
                    <a:pt x="0" y="64"/>
                    <a:pt x="0" y="67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4" y="77"/>
                    <a:pt x="154" y="77"/>
                    <a:pt x="154" y="77"/>
                  </a:cubicBezTo>
                  <a:cubicBezTo>
                    <a:pt x="154" y="67"/>
                    <a:pt x="154" y="67"/>
                    <a:pt x="154" y="67"/>
                  </a:cubicBezTo>
                  <a:cubicBezTo>
                    <a:pt x="154" y="64"/>
                    <a:pt x="151" y="61"/>
                    <a:pt x="147" y="61"/>
                  </a:cubicBezTo>
                  <a:lnTo>
                    <a:pt x="132" y="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0" name="Freeform 272">
              <a:extLst>
                <a:ext uri="{FF2B5EF4-FFF2-40B4-BE49-F238E27FC236}">
                  <a16:creationId xmlns:a16="http://schemas.microsoft.com/office/drawing/2014/main" id="{61C441F7-717F-4AF5-B59E-0D5BF3D29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4363" y="5900738"/>
              <a:ext cx="287338" cy="147638"/>
            </a:xfrm>
            <a:custGeom>
              <a:avLst/>
              <a:gdLst>
                <a:gd name="T0" fmla="*/ 76 w 76"/>
                <a:gd name="T1" fmla="*/ 39 h 39"/>
                <a:gd name="T2" fmla="*/ 0 w 76"/>
                <a:gd name="T3" fmla="*/ 39 h 39"/>
                <a:gd name="T4" fmla="*/ 38 w 76"/>
                <a:gd name="T5" fmla="*/ 0 h 39"/>
                <a:gd name="T6" fmla="*/ 76 w 76"/>
                <a:gd name="T7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39">
                  <a:moveTo>
                    <a:pt x="76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18"/>
                    <a:pt x="17" y="0"/>
                    <a:pt x="38" y="0"/>
                  </a:cubicBezTo>
                  <a:cubicBezTo>
                    <a:pt x="59" y="0"/>
                    <a:pt x="76" y="18"/>
                    <a:pt x="76" y="39"/>
                  </a:cubicBez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10" name="Title 1">
            <a:extLst>
              <a:ext uri="{FF2B5EF4-FFF2-40B4-BE49-F238E27FC236}">
                <a16:creationId xmlns:a16="http://schemas.microsoft.com/office/drawing/2014/main" id="{C6C0D6B9-2C45-468A-B893-17EB52A6ABBF}"/>
              </a:ext>
            </a:extLst>
          </p:cNvPr>
          <p:cNvSpPr txBox="1">
            <a:spLocks/>
          </p:cNvSpPr>
          <p:nvPr/>
        </p:nvSpPr>
        <p:spPr>
          <a:xfrm>
            <a:off x="1343376" y="1543553"/>
            <a:ext cx="1324257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Length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311" name="Title 1">
            <a:extLst>
              <a:ext uri="{FF2B5EF4-FFF2-40B4-BE49-F238E27FC236}">
                <a16:creationId xmlns:a16="http://schemas.microsoft.com/office/drawing/2014/main" id="{9E4782CE-A7D3-4709-8417-0EDF894AA3C1}"/>
              </a:ext>
            </a:extLst>
          </p:cNvPr>
          <p:cNvSpPr txBox="1">
            <a:spLocks/>
          </p:cNvSpPr>
          <p:nvPr/>
        </p:nvSpPr>
        <p:spPr>
          <a:xfrm>
            <a:off x="1340910" y="2323346"/>
            <a:ext cx="1324257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Load Distribution 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cs typeface="AkayaKanadaka" panose="02010502080401010103" pitchFamily="2" charset="77"/>
            </a:endParaRPr>
          </a:p>
        </p:txBody>
      </p:sp>
      <p:sp>
        <p:nvSpPr>
          <p:cNvPr id="312" name="Title 1">
            <a:extLst>
              <a:ext uri="{FF2B5EF4-FFF2-40B4-BE49-F238E27FC236}">
                <a16:creationId xmlns:a16="http://schemas.microsoft.com/office/drawing/2014/main" id="{D686A22C-76CF-4DA0-8976-ACFC6C05BF7B}"/>
              </a:ext>
            </a:extLst>
          </p:cNvPr>
          <p:cNvSpPr txBox="1">
            <a:spLocks/>
          </p:cNvSpPr>
          <p:nvPr/>
        </p:nvSpPr>
        <p:spPr>
          <a:xfrm>
            <a:off x="1313727" y="3173351"/>
            <a:ext cx="1324257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Width</a:t>
            </a:r>
          </a:p>
        </p:txBody>
      </p:sp>
      <p:sp>
        <p:nvSpPr>
          <p:cNvPr id="313" name="Title 1">
            <a:extLst>
              <a:ext uri="{FF2B5EF4-FFF2-40B4-BE49-F238E27FC236}">
                <a16:creationId xmlns:a16="http://schemas.microsoft.com/office/drawing/2014/main" id="{D02CE45F-B94F-45FA-94A9-2DC2747C2913}"/>
              </a:ext>
            </a:extLst>
          </p:cNvPr>
          <p:cNvSpPr txBox="1">
            <a:spLocks/>
          </p:cNvSpPr>
          <p:nvPr/>
        </p:nvSpPr>
        <p:spPr>
          <a:xfrm>
            <a:off x="1298293" y="3964768"/>
            <a:ext cx="1414425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Tyre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 Size</a:t>
            </a:r>
          </a:p>
        </p:txBody>
      </p:sp>
      <p:sp>
        <p:nvSpPr>
          <p:cNvPr id="314" name="Title 1">
            <a:extLst>
              <a:ext uri="{FF2B5EF4-FFF2-40B4-BE49-F238E27FC236}">
                <a16:creationId xmlns:a16="http://schemas.microsoft.com/office/drawing/2014/main" id="{62E70FD9-9BA5-4938-8AF7-66174464E248}"/>
              </a:ext>
            </a:extLst>
          </p:cNvPr>
          <p:cNvSpPr txBox="1">
            <a:spLocks/>
          </p:cNvSpPr>
          <p:nvPr/>
        </p:nvSpPr>
        <p:spPr>
          <a:xfrm>
            <a:off x="1313727" y="4739370"/>
            <a:ext cx="1324257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Distance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315" name="Title 1">
            <a:extLst>
              <a:ext uri="{FF2B5EF4-FFF2-40B4-BE49-F238E27FC236}">
                <a16:creationId xmlns:a16="http://schemas.microsoft.com/office/drawing/2014/main" id="{15ECDB81-3D8D-46E4-BFF9-CC4314A5E9F5}"/>
              </a:ext>
            </a:extLst>
          </p:cNvPr>
          <p:cNvSpPr txBox="1">
            <a:spLocks/>
          </p:cNvSpPr>
          <p:nvPr/>
        </p:nvSpPr>
        <p:spPr>
          <a:xfrm>
            <a:off x="2902937" y="1503849"/>
            <a:ext cx="6408828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Big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cs typeface="AkayaKanadaka" panose="02010502080401010103" pitchFamily="2" charset="77"/>
            </a:endParaRPr>
          </a:p>
        </p:txBody>
      </p:sp>
      <p:sp>
        <p:nvSpPr>
          <p:cNvPr id="316" name="Title 1">
            <a:extLst>
              <a:ext uri="{FF2B5EF4-FFF2-40B4-BE49-F238E27FC236}">
                <a16:creationId xmlns:a16="http://schemas.microsoft.com/office/drawing/2014/main" id="{559BDA7B-3241-4B80-BF76-78A8EEC3BB00}"/>
              </a:ext>
            </a:extLst>
          </p:cNvPr>
          <p:cNvSpPr txBox="1">
            <a:spLocks/>
          </p:cNvSpPr>
          <p:nvPr/>
        </p:nvSpPr>
        <p:spPr>
          <a:xfrm>
            <a:off x="2864798" y="2357701"/>
            <a:ext cx="5714209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Back</a:t>
            </a:r>
          </a:p>
        </p:txBody>
      </p:sp>
      <p:sp>
        <p:nvSpPr>
          <p:cNvPr id="317" name="Title 1">
            <a:extLst>
              <a:ext uri="{FF2B5EF4-FFF2-40B4-BE49-F238E27FC236}">
                <a16:creationId xmlns:a16="http://schemas.microsoft.com/office/drawing/2014/main" id="{DB3BF30A-1B79-4E33-9F8A-6CA7FA96E1AC}"/>
              </a:ext>
            </a:extLst>
          </p:cNvPr>
          <p:cNvSpPr txBox="1">
            <a:spLocks/>
          </p:cNvSpPr>
          <p:nvPr/>
        </p:nvSpPr>
        <p:spPr>
          <a:xfrm>
            <a:off x="2864798" y="3211553"/>
            <a:ext cx="4843709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Large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cs typeface="AkayaKanadaka" panose="02010502080401010103" pitchFamily="2" charset="77"/>
            </a:endParaRPr>
          </a:p>
        </p:txBody>
      </p:sp>
      <p:sp>
        <p:nvSpPr>
          <p:cNvPr id="318" name="Title 1">
            <a:extLst>
              <a:ext uri="{FF2B5EF4-FFF2-40B4-BE49-F238E27FC236}">
                <a16:creationId xmlns:a16="http://schemas.microsoft.com/office/drawing/2014/main" id="{80CBE442-4A12-4A3A-BD02-0829508D306B}"/>
              </a:ext>
            </a:extLst>
          </p:cNvPr>
          <p:cNvSpPr txBox="1">
            <a:spLocks/>
          </p:cNvSpPr>
          <p:nvPr/>
        </p:nvSpPr>
        <p:spPr>
          <a:xfrm>
            <a:off x="2837458" y="3947725"/>
            <a:ext cx="4026918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Small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cs typeface="AkayaKanadaka" panose="02010502080401010103" pitchFamily="2" charset="77"/>
            </a:endParaRPr>
          </a:p>
        </p:txBody>
      </p:sp>
      <p:sp>
        <p:nvSpPr>
          <p:cNvPr id="319" name="Title 1">
            <a:extLst>
              <a:ext uri="{FF2B5EF4-FFF2-40B4-BE49-F238E27FC236}">
                <a16:creationId xmlns:a16="http://schemas.microsoft.com/office/drawing/2014/main" id="{BB0640DA-5EF0-4D02-85EA-75583DC0A0B0}"/>
              </a:ext>
            </a:extLst>
          </p:cNvPr>
          <p:cNvSpPr txBox="1">
            <a:spLocks/>
          </p:cNvSpPr>
          <p:nvPr/>
        </p:nvSpPr>
        <p:spPr>
          <a:xfrm>
            <a:off x="2622550" y="5554689"/>
            <a:ext cx="3369692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51.33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cms23800</a:t>
            </a:r>
          </a:p>
        </p:txBody>
      </p:sp>
      <p:cxnSp>
        <p:nvCxnSpPr>
          <p:cNvPr id="321" name="Straight Connector 320">
            <a:extLst>
              <a:ext uri="{FF2B5EF4-FFF2-40B4-BE49-F238E27FC236}">
                <a16:creationId xmlns:a16="http://schemas.microsoft.com/office/drawing/2014/main" id="{36CE5E30-81AB-46D3-BA97-4B2CD6412936}"/>
              </a:ext>
            </a:extLst>
          </p:cNvPr>
          <p:cNvCxnSpPr>
            <a:cxnSpLocks/>
          </p:cNvCxnSpPr>
          <p:nvPr/>
        </p:nvCxnSpPr>
        <p:spPr>
          <a:xfrm>
            <a:off x="2712720" y="1714499"/>
            <a:ext cx="0" cy="4419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E5A568FF-822B-44B0-9979-F291CC652D7D}"/>
              </a:ext>
            </a:extLst>
          </p:cNvPr>
          <p:cNvCxnSpPr>
            <a:cxnSpLocks/>
          </p:cNvCxnSpPr>
          <p:nvPr/>
        </p:nvCxnSpPr>
        <p:spPr>
          <a:xfrm>
            <a:off x="2712720" y="2664460"/>
            <a:ext cx="0" cy="4419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30512F34-6A5F-49CF-A4F6-52B33EF5D46F}"/>
              </a:ext>
            </a:extLst>
          </p:cNvPr>
          <p:cNvCxnSpPr>
            <a:cxnSpLocks/>
          </p:cNvCxnSpPr>
          <p:nvPr/>
        </p:nvCxnSpPr>
        <p:spPr>
          <a:xfrm>
            <a:off x="2712720" y="3614419"/>
            <a:ext cx="0" cy="4419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D96F45C7-57B9-42E4-94A1-936D50DE99C3}"/>
              </a:ext>
            </a:extLst>
          </p:cNvPr>
          <p:cNvCxnSpPr>
            <a:cxnSpLocks/>
          </p:cNvCxnSpPr>
          <p:nvPr/>
        </p:nvCxnSpPr>
        <p:spPr>
          <a:xfrm>
            <a:off x="2712720" y="4564380"/>
            <a:ext cx="0" cy="4419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6D436A0C-EFCD-46A4-8E99-BCD18C613FBC}"/>
              </a:ext>
            </a:extLst>
          </p:cNvPr>
          <p:cNvCxnSpPr>
            <a:cxnSpLocks/>
          </p:cNvCxnSpPr>
          <p:nvPr/>
        </p:nvCxnSpPr>
        <p:spPr>
          <a:xfrm>
            <a:off x="2712720" y="5514340"/>
            <a:ext cx="0" cy="4419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Slide Number Placeholder 325">
            <a:extLst>
              <a:ext uri="{FF2B5EF4-FFF2-40B4-BE49-F238E27FC236}">
                <a16:creationId xmlns:a16="http://schemas.microsoft.com/office/drawing/2014/main" id="{8189C30A-9634-40C1-B2B4-D68305306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34104D-58AF-27D5-7D2E-5D0A39B7773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29171" y="57860"/>
            <a:ext cx="5842000" cy="1066800"/>
          </a:xfrm>
          <a:prstGeom prst="rect">
            <a:avLst/>
          </a:prstGeom>
        </p:spPr>
      </p:pic>
      <p:sp>
        <p:nvSpPr>
          <p:cNvPr id="7" name="Freeform 46">
            <a:extLst>
              <a:ext uri="{FF2B5EF4-FFF2-40B4-BE49-F238E27FC236}">
                <a16:creationId xmlns:a16="http://schemas.microsoft.com/office/drawing/2014/main" id="{713AED0F-13D5-4296-296A-11A1E35BAEC5}"/>
              </a:ext>
            </a:extLst>
          </p:cNvPr>
          <p:cNvSpPr/>
          <p:nvPr/>
        </p:nvSpPr>
        <p:spPr>
          <a:xfrm>
            <a:off x="628819" y="5435821"/>
            <a:ext cx="3369693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7E48F1-77F7-4DFC-5FDF-39FE1E443722}"/>
              </a:ext>
            </a:extLst>
          </p:cNvPr>
          <p:cNvSpPr txBox="1">
            <a:spLocks/>
          </p:cNvSpPr>
          <p:nvPr/>
        </p:nvSpPr>
        <p:spPr>
          <a:xfrm>
            <a:off x="1298293" y="5546412"/>
            <a:ext cx="1324257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Total Cost  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9E13FB7-272B-FAD8-9452-4E3ADF3C5E5E}"/>
              </a:ext>
            </a:extLst>
          </p:cNvPr>
          <p:cNvSpPr/>
          <p:nvPr/>
        </p:nvSpPr>
        <p:spPr>
          <a:xfrm>
            <a:off x="779984" y="5596051"/>
            <a:ext cx="412017" cy="412017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254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9C524FD1-6D66-C969-0A88-F8144C5E8905}"/>
              </a:ext>
            </a:extLst>
          </p:cNvPr>
          <p:cNvSpPr txBox="1">
            <a:spLocks/>
          </p:cNvSpPr>
          <p:nvPr/>
        </p:nvSpPr>
        <p:spPr>
          <a:xfrm>
            <a:off x="2802891" y="5514340"/>
            <a:ext cx="3369692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$ 23800</a:t>
            </a:r>
          </a:p>
        </p:txBody>
      </p:sp>
      <p:sp>
        <p:nvSpPr>
          <p:cNvPr id="55" name="Title 1">
            <a:extLst>
              <a:ext uri="{FF2B5EF4-FFF2-40B4-BE49-F238E27FC236}">
                <a16:creationId xmlns:a16="http://schemas.microsoft.com/office/drawing/2014/main" id="{0A3430F5-BFCF-036F-A839-C011EADEBF9E}"/>
              </a:ext>
            </a:extLst>
          </p:cNvPr>
          <p:cNvSpPr txBox="1">
            <a:spLocks/>
          </p:cNvSpPr>
          <p:nvPr/>
        </p:nvSpPr>
        <p:spPr>
          <a:xfrm>
            <a:off x="2802891" y="4752533"/>
            <a:ext cx="3369692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151.33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cms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cs typeface="AkayaKanadaka" panose="02010502080401010103" pitchFamily="2" charset="77"/>
            </a:endParaRPr>
          </a:p>
        </p:txBody>
      </p: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6B605186-CB5C-041A-615E-D5504ED67BD9}"/>
              </a:ext>
            </a:extLst>
          </p:cNvPr>
          <p:cNvGrpSpPr/>
          <p:nvPr/>
        </p:nvGrpSpPr>
        <p:grpSpPr>
          <a:xfrm>
            <a:off x="3524291" y="5057144"/>
            <a:ext cx="1883659" cy="1195248"/>
            <a:chOff x="6430073" y="5015052"/>
            <a:chExt cx="1883659" cy="1195248"/>
          </a:xfrm>
        </p:grpSpPr>
        <p:grpSp>
          <p:nvGrpSpPr>
            <p:cNvPr id="334" name="Group 5">
              <a:extLst>
                <a:ext uri="{FF2B5EF4-FFF2-40B4-BE49-F238E27FC236}">
                  <a16:creationId xmlns:a16="http://schemas.microsoft.com/office/drawing/2014/main" id="{F44A47E6-3D3D-CDD5-EE28-358D58B4F5A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169213" y="5015052"/>
              <a:ext cx="1144519" cy="959028"/>
              <a:chOff x="3550" y="1917"/>
              <a:chExt cx="580" cy="486"/>
            </a:xfrm>
          </p:grpSpPr>
          <p:sp>
            <p:nvSpPr>
              <p:cNvPr id="351" name="Freeform 6">
                <a:extLst>
                  <a:ext uri="{FF2B5EF4-FFF2-40B4-BE49-F238E27FC236}">
                    <a16:creationId xmlns:a16="http://schemas.microsoft.com/office/drawing/2014/main" id="{17072F43-EFA5-D30D-9682-2B72F9C9B6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980C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7">
                <a:extLst>
                  <a:ext uri="{FF2B5EF4-FFF2-40B4-BE49-F238E27FC236}">
                    <a16:creationId xmlns:a16="http://schemas.microsoft.com/office/drawing/2014/main" id="{30060952-7F39-C025-1534-628B95A307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3" name="Freeform 8">
                <a:extLst>
                  <a:ext uri="{FF2B5EF4-FFF2-40B4-BE49-F238E27FC236}">
                    <a16:creationId xmlns:a16="http://schemas.microsoft.com/office/drawing/2014/main" id="{9EF972BD-110F-1A42-636E-8F563BFCB4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Rectangle 9">
                <a:extLst>
                  <a:ext uri="{FF2B5EF4-FFF2-40B4-BE49-F238E27FC236}">
                    <a16:creationId xmlns:a16="http://schemas.microsoft.com/office/drawing/2014/main" id="{5B25572E-8F04-C91E-2D3A-DB27CBD589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Oval 10">
                <a:extLst>
                  <a:ext uri="{FF2B5EF4-FFF2-40B4-BE49-F238E27FC236}">
                    <a16:creationId xmlns:a16="http://schemas.microsoft.com/office/drawing/2014/main" id="{5EB54BBA-48DE-4A8F-315D-A3E756ECC7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Oval 11">
                <a:extLst>
                  <a:ext uri="{FF2B5EF4-FFF2-40B4-BE49-F238E27FC236}">
                    <a16:creationId xmlns:a16="http://schemas.microsoft.com/office/drawing/2014/main" id="{DD106693-2CAD-1516-B047-FC1C53181A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Rectangle 12">
                <a:extLst>
                  <a:ext uri="{FF2B5EF4-FFF2-40B4-BE49-F238E27FC236}">
                    <a16:creationId xmlns:a16="http://schemas.microsoft.com/office/drawing/2014/main" id="{6114C7E0-2EDD-A5DD-08F9-929834360C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Oval 13">
                <a:extLst>
                  <a:ext uri="{FF2B5EF4-FFF2-40B4-BE49-F238E27FC236}">
                    <a16:creationId xmlns:a16="http://schemas.microsoft.com/office/drawing/2014/main" id="{552A010A-D695-5F2B-C055-69F83EFE26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Oval 14">
                <a:extLst>
                  <a:ext uri="{FF2B5EF4-FFF2-40B4-BE49-F238E27FC236}">
                    <a16:creationId xmlns:a16="http://schemas.microsoft.com/office/drawing/2014/main" id="{F120BED2-4872-A381-6FBA-1199015292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Rectangle 15">
                <a:extLst>
                  <a:ext uri="{FF2B5EF4-FFF2-40B4-BE49-F238E27FC236}">
                    <a16:creationId xmlns:a16="http://schemas.microsoft.com/office/drawing/2014/main" id="{C60401BA-D682-8250-FC1D-77C3732B41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Oval 16">
                <a:extLst>
                  <a:ext uri="{FF2B5EF4-FFF2-40B4-BE49-F238E27FC236}">
                    <a16:creationId xmlns:a16="http://schemas.microsoft.com/office/drawing/2014/main" id="{BE25DC3D-6ABD-8DEA-11CF-53666DB100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Oval 17">
                <a:extLst>
                  <a:ext uri="{FF2B5EF4-FFF2-40B4-BE49-F238E27FC236}">
                    <a16:creationId xmlns:a16="http://schemas.microsoft.com/office/drawing/2014/main" id="{0DFC0319-6BDD-D120-BB21-60F0A0D30C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Rectangle 18">
                <a:extLst>
                  <a:ext uri="{FF2B5EF4-FFF2-40B4-BE49-F238E27FC236}">
                    <a16:creationId xmlns:a16="http://schemas.microsoft.com/office/drawing/2014/main" id="{BB0ACF39-56B0-CF1C-90DC-C303CB787F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Oval 19">
                <a:extLst>
                  <a:ext uri="{FF2B5EF4-FFF2-40B4-BE49-F238E27FC236}">
                    <a16:creationId xmlns:a16="http://schemas.microsoft.com/office/drawing/2014/main" id="{3DCBFE5D-E6AE-B893-9D66-2DD4495977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Oval 20">
                <a:extLst>
                  <a:ext uri="{FF2B5EF4-FFF2-40B4-BE49-F238E27FC236}">
                    <a16:creationId xmlns:a16="http://schemas.microsoft.com/office/drawing/2014/main" id="{512F4A56-5F6D-D6EF-8C3C-CB39A724B6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35" name="Group 5">
              <a:extLst>
                <a:ext uri="{FF2B5EF4-FFF2-40B4-BE49-F238E27FC236}">
                  <a16:creationId xmlns:a16="http://schemas.microsoft.com/office/drawing/2014/main" id="{088B4D29-FF9A-6F85-973E-DE888AA716D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30073" y="5251272"/>
              <a:ext cx="1144519" cy="959028"/>
              <a:chOff x="3550" y="1917"/>
              <a:chExt cx="580" cy="486"/>
            </a:xfrm>
          </p:grpSpPr>
          <p:sp>
            <p:nvSpPr>
              <p:cNvPr id="336" name="Freeform 6">
                <a:extLst>
                  <a:ext uri="{FF2B5EF4-FFF2-40B4-BE49-F238E27FC236}">
                    <a16:creationId xmlns:a16="http://schemas.microsoft.com/office/drawing/2014/main" id="{F7E148E4-E09C-DC0E-5CD4-289785740C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D6A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7">
                <a:extLst>
                  <a:ext uri="{FF2B5EF4-FFF2-40B4-BE49-F238E27FC236}">
                    <a16:creationId xmlns:a16="http://schemas.microsoft.com/office/drawing/2014/main" id="{45225FEC-3DCF-DE01-A3A4-A26B34FF25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8" name="Freeform 8">
                <a:extLst>
                  <a:ext uri="{FF2B5EF4-FFF2-40B4-BE49-F238E27FC236}">
                    <a16:creationId xmlns:a16="http://schemas.microsoft.com/office/drawing/2014/main" id="{2CD85CB0-E116-8B04-E1D8-F910D27D34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Rectangle 9">
                <a:extLst>
                  <a:ext uri="{FF2B5EF4-FFF2-40B4-BE49-F238E27FC236}">
                    <a16:creationId xmlns:a16="http://schemas.microsoft.com/office/drawing/2014/main" id="{E2405912-889F-79EE-E2C3-1F01DBE42E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Oval 10">
                <a:extLst>
                  <a:ext uri="{FF2B5EF4-FFF2-40B4-BE49-F238E27FC236}">
                    <a16:creationId xmlns:a16="http://schemas.microsoft.com/office/drawing/2014/main" id="{7224554C-0040-C310-BEA1-8CE0D2A90C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Oval 11">
                <a:extLst>
                  <a:ext uri="{FF2B5EF4-FFF2-40B4-BE49-F238E27FC236}">
                    <a16:creationId xmlns:a16="http://schemas.microsoft.com/office/drawing/2014/main" id="{5CBC1F2E-17A6-1B98-3B12-7D7500CFDA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Rectangle 12">
                <a:extLst>
                  <a:ext uri="{FF2B5EF4-FFF2-40B4-BE49-F238E27FC236}">
                    <a16:creationId xmlns:a16="http://schemas.microsoft.com/office/drawing/2014/main" id="{C8614859-1FDB-D070-8358-2CDF9E08B2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Oval 13">
                <a:extLst>
                  <a:ext uri="{FF2B5EF4-FFF2-40B4-BE49-F238E27FC236}">
                    <a16:creationId xmlns:a16="http://schemas.microsoft.com/office/drawing/2014/main" id="{6D073A39-196A-E411-C376-B31548818A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Oval 14">
                <a:extLst>
                  <a:ext uri="{FF2B5EF4-FFF2-40B4-BE49-F238E27FC236}">
                    <a16:creationId xmlns:a16="http://schemas.microsoft.com/office/drawing/2014/main" id="{772E22DD-36F9-D609-5262-4C61D91BA5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Rectangle 15">
                <a:extLst>
                  <a:ext uri="{FF2B5EF4-FFF2-40B4-BE49-F238E27FC236}">
                    <a16:creationId xmlns:a16="http://schemas.microsoft.com/office/drawing/2014/main" id="{57CE78FE-C021-44B4-F218-5934EC8E82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Oval 16">
                <a:extLst>
                  <a:ext uri="{FF2B5EF4-FFF2-40B4-BE49-F238E27FC236}">
                    <a16:creationId xmlns:a16="http://schemas.microsoft.com/office/drawing/2014/main" id="{03657D8A-A181-5956-D5B9-BE6EC6746E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Oval 17">
                <a:extLst>
                  <a:ext uri="{FF2B5EF4-FFF2-40B4-BE49-F238E27FC236}">
                    <a16:creationId xmlns:a16="http://schemas.microsoft.com/office/drawing/2014/main" id="{7ED2B56A-10A4-D7D4-D159-ECE3846CDF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Rectangle 18">
                <a:extLst>
                  <a:ext uri="{FF2B5EF4-FFF2-40B4-BE49-F238E27FC236}">
                    <a16:creationId xmlns:a16="http://schemas.microsoft.com/office/drawing/2014/main" id="{A0B6B6F9-81C5-0BB2-C0F5-7EEAA0979C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Oval 19">
                <a:extLst>
                  <a:ext uri="{FF2B5EF4-FFF2-40B4-BE49-F238E27FC236}">
                    <a16:creationId xmlns:a16="http://schemas.microsoft.com/office/drawing/2014/main" id="{6B596FF5-8ACD-B71F-5517-FACC3D66B2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Oval 20">
                <a:extLst>
                  <a:ext uri="{FF2B5EF4-FFF2-40B4-BE49-F238E27FC236}">
                    <a16:creationId xmlns:a16="http://schemas.microsoft.com/office/drawing/2014/main" id="{51BDBEFA-ACF9-2753-A1A3-3940AC5001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366" name="Picture 365">
            <a:extLst>
              <a:ext uri="{FF2B5EF4-FFF2-40B4-BE49-F238E27FC236}">
                <a16:creationId xmlns:a16="http://schemas.microsoft.com/office/drawing/2014/main" id="{7E341FB1-DAA7-8EF9-40B4-292DF3ACD95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81467" y="2378190"/>
            <a:ext cx="5406398" cy="323835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6041E3C3-BB30-9869-14C5-1D4B73056AF8}"/>
              </a:ext>
            </a:extLst>
          </p:cNvPr>
          <p:cNvGrpSpPr/>
          <p:nvPr/>
        </p:nvGrpSpPr>
        <p:grpSpPr>
          <a:xfrm>
            <a:off x="835852" y="1709621"/>
            <a:ext cx="235913" cy="178149"/>
            <a:chOff x="10531475" y="5465763"/>
            <a:chExt cx="771525" cy="582613"/>
          </a:xfrm>
          <a:effectLst>
            <a:outerShdw dist="254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3" name="Freeform 265">
              <a:extLst>
                <a:ext uri="{FF2B5EF4-FFF2-40B4-BE49-F238E27FC236}">
                  <a16:creationId xmlns:a16="http://schemas.microsoft.com/office/drawing/2014/main" id="{963C8EEC-D8FB-C8A0-DFA7-44B9BA4326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771525" cy="582613"/>
            </a:xfrm>
            <a:custGeom>
              <a:avLst/>
              <a:gdLst>
                <a:gd name="T0" fmla="*/ 179 w 204"/>
                <a:gd name="T1" fmla="*/ 0 h 154"/>
                <a:gd name="T2" fmla="*/ 25 w 204"/>
                <a:gd name="T3" fmla="*/ 0 h 154"/>
                <a:gd name="T4" fmla="*/ 0 w 204"/>
                <a:gd name="T5" fmla="*/ 26 h 154"/>
                <a:gd name="T6" fmla="*/ 0 w 204"/>
                <a:gd name="T7" fmla="*/ 147 h 154"/>
                <a:gd name="T8" fmla="*/ 6 w 204"/>
                <a:gd name="T9" fmla="*/ 154 h 154"/>
                <a:gd name="T10" fmla="*/ 198 w 204"/>
                <a:gd name="T11" fmla="*/ 154 h 154"/>
                <a:gd name="T12" fmla="*/ 204 w 204"/>
                <a:gd name="T13" fmla="*/ 147 h 154"/>
                <a:gd name="T14" fmla="*/ 204 w 204"/>
                <a:gd name="T15" fmla="*/ 26 h 154"/>
                <a:gd name="T16" fmla="*/ 179 w 204"/>
                <a:gd name="T17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154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51"/>
                    <a:pt x="2" y="154"/>
                    <a:pt x="6" y="154"/>
                  </a:cubicBezTo>
                  <a:cubicBezTo>
                    <a:pt x="198" y="154"/>
                    <a:pt x="198" y="154"/>
                    <a:pt x="198" y="154"/>
                  </a:cubicBezTo>
                  <a:cubicBezTo>
                    <a:pt x="202" y="154"/>
                    <a:pt x="204" y="151"/>
                    <a:pt x="204" y="147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059B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266">
              <a:extLst>
                <a:ext uri="{FF2B5EF4-FFF2-40B4-BE49-F238E27FC236}">
                  <a16:creationId xmlns:a16="http://schemas.microsoft.com/office/drawing/2014/main" id="{3B0D21F1-21FA-88B3-F51C-A25D4DC82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525463" cy="530225"/>
            </a:xfrm>
            <a:custGeom>
              <a:avLst/>
              <a:gdLst>
                <a:gd name="T0" fmla="*/ 139 w 139"/>
                <a:gd name="T1" fmla="*/ 0 h 140"/>
                <a:gd name="T2" fmla="*/ 25 w 139"/>
                <a:gd name="T3" fmla="*/ 0 h 140"/>
                <a:gd name="T4" fmla="*/ 0 w 139"/>
                <a:gd name="T5" fmla="*/ 26 h 140"/>
                <a:gd name="T6" fmla="*/ 0 w 139"/>
                <a:gd name="T7" fmla="*/ 140 h 140"/>
                <a:gd name="T8" fmla="*/ 139 w 139"/>
                <a:gd name="T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140">
                  <a:moveTo>
                    <a:pt x="13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140"/>
                    <a:pt x="0" y="140"/>
                    <a:pt x="0" y="140"/>
                  </a:cubicBezTo>
                  <a:lnTo>
                    <a:pt x="139" y="0"/>
                  </a:lnTo>
                  <a:close/>
                </a:path>
              </a:pathLst>
            </a:cu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Freeform 267">
              <a:extLst>
                <a:ext uri="{FF2B5EF4-FFF2-40B4-BE49-F238E27FC236}">
                  <a16:creationId xmlns:a16="http://schemas.microsoft.com/office/drawing/2014/main" id="{DD393E76-BDDF-F985-55EA-7132F6DB9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771525" cy="147638"/>
            </a:xfrm>
            <a:custGeom>
              <a:avLst/>
              <a:gdLst>
                <a:gd name="T0" fmla="*/ 179 w 204"/>
                <a:gd name="T1" fmla="*/ 0 h 39"/>
                <a:gd name="T2" fmla="*/ 25 w 204"/>
                <a:gd name="T3" fmla="*/ 0 h 39"/>
                <a:gd name="T4" fmla="*/ 0 w 204"/>
                <a:gd name="T5" fmla="*/ 26 h 39"/>
                <a:gd name="T6" fmla="*/ 0 w 204"/>
                <a:gd name="T7" fmla="*/ 39 h 39"/>
                <a:gd name="T8" fmla="*/ 204 w 204"/>
                <a:gd name="T9" fmla="*/ 39 h 39"/>
                <a:gd name="T10" fmla="*/ 204 w 204"/>
                <a:gd name="T11" fmla="*/ 26 h 39"/>
                <a:gd name="T12" fmla="*/ 179 w 204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204" y="39"/>
                    <a:pt x="204" y="39"/>
                    <a:pt x="204" y="39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Oval 268">
              <a:extLst>
                <a:ext uri="{FF2B5EF4-FFF2-40B4-BE49-F238E27FC236}">
                  <a16:creationId xmlns:a16="http://schemas.microsoft.com/office/drawing/2014/main" id="{E4E858E1-E411-9B21-B352-F39D1E6A1E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15613" y="5514975"/>
              <a:ext cx="49213" cy="49213"/>
            </a:xfrm>
            <a:prstGeom prst="ellipse">
              <a:avLst/>
            </a:pr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Oval 269">
              <a:extLst>
                <a:ext uri="{FF2B5EF4-FFF2-40B4-BE49-F238E27FC236}">
                  <a16:creationId xmlns:a16="http://schemas.microsoft.com/office/drawing/2014/main" id="{5BCF200C-139E-37D1-1CDB-A93CA82271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14038" y="5514975"/>
              <a:ext cx="44450" cy="49213"/>
            </a:xfrm>
            <a:prstGeom prst="ellipse">
              <a:avLst/>
            </a:pr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Oval 270">
              <a:extLst>
                <a:ext uri="{FF2B5EF4-FFF2-40B4-BE49-F238E27FC236}">
                  <a16:creationId xmlns:a16="http://schemas.microsoft.com/office/drawing/2014/main" id="{AAC526EE-6A15-68F1-2E80-77E55EA243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07700" y="5514975"/>
              <a:ext cx="49213" cy="49213"/>
            </a:xfrm>
            <a:prstGeom prst="ellipse">
              <a:avLst/>
            </a:prstGeom>
            <a:solidFill>
              <a:srgbClr val="4AC3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Freeform 271">
              <a:extLst>
                <a:ext uri="{FF2B5EF4-FFF2-40B4-BE49-F238E27FC236}">
                  <a16:creationId xmlns:a16="http://schemas.microsoft.com/office/drawing/2014/main" id="{3C79590F-A050-7626-BB7E-1DD630517F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725" y="5757863"/>
              <a:ext cx="582613" cy="290513"/>
            </a:xfrm>
            <a:custGeom>
              <a:avLst/>
              <a:gdLst>
                <a:gd name="T0" fmla="*/ 132 w 154"/>
                <a:gd name="T1" fmla="*/ 61 h 77"/>
                <a:gd name="T2" fmla="*/ 127 w 154"/>
                <a:gd name="T3" fmla="*/ 49 h 77"/>
                <a:gd name="T4" fmla="*/ 138 w 154"/>
                <a:gd name="T5" fmla="*/ 38 h 77"/>
                <a:gd name="T6" fmla="*/ 138 w 154"/>
                <a:gd name="T7" fmla="*/ 29 h 77"/>
                <a:gd name="T8" fmla="*/ 125 w 154"/>
                <a:gd name="T9" fmla="*/ 16 h 77"/>
                <a:gd name="T10" fmla="*/ 115 w 154"/>
                <a:gd name="T11" fmla="*/ 16 h 77"/>
                <a:gd name="T12" fmla="*/ 105 w 154"/>
                <a:gd name="T13" fmla="*/ 26 h 77"/>
                <a:gd name="T14" fmla="*/ 93 w 154"/>
                <a:gd name="T15" fmla="*/ 21 h 77"/>
                <a:gd name="T16" fmla="*/ 93 w 154"/>
                <a:gd name="T17" fmla="*/ 6 h 77"/>
                <a:gd name="T18" fmla="*/ 87 w 154"/>
                <a:gd name="T19" fmla="*/ 0 h 77"/>
                <a:gd name="T20" fmla="*/ 67 w 154"/>
                <a:gd name="T21" fmla="*/ 0 h 77"/>
                <a:gd name="T22" fmla="*/ 61 w 154"/>
                <a:gd name="T23" fmla="*/ 6 h 77"/>
                <a:gd name="T24" fmla="*/ 61 w 154"/>
                <a:gd name="T25" fmla="*/ 21 h 77"/>
                <a:gd name="T26" fmla="*/ 49 w 154"/>
                <a:gd name="T27" fmla="*/ 26 h 77"/>
                <a:gd name="T28" fmla="*/ 39 w 154"/>
                <a:gd name="T29" fmla="*/ 16 h 77"/>
                <a:gd name="T30" fmla="*/ 29 w 154"/>
                <a:gd name="T31" fmla="*/ 16 h 77"/>
                <a:gd name="T32" fmla="*/ 16 w 154"/>
                <a:gd name="T33" fmla="*/ 29 h 77"/>
                <a:gd name="T34" fmla="*/ 16 w 154"/>
                <a:gd name="T35" fmla="*/ 38 h 77"/>
                <a:gd name="T36" fmla="*/ 27 w 154"/>
                <a:gd name="T37" fmla="*/ 49 h 77"/>
                <a:gd name="T38" fmla="*/ 22 w 154"/>
                <a:gd name="T39" fmla="*/ 61 h 77"/>
                <a:gd name="T40" fmla="*/ 7 w 154"/>
                <a:gd name="T41" fmla="*/ 61 h 77"/>
                <a:gd name="T42" fmla="*/ 0 w 154"/>
                <a:gd name="T43" fmla="*/ 67 h 77"/>
                <a:gd name="T44" fmla="*/ 0 w 154"/>
                <a:gd name="T45" fmla="*/ 77 h 77"/>
                <a:gd name="T46" fmla="*/ 154 w 154"/>
                <a:gd name="T47" fmla="*/ 77 h 77"/>
                <a:gd name="T48" fmla="*/ 154 w 154"/>
                <a:gd name="T49" fmla="*/ 67 h 77"/>
                <a:gd name="T50" fmla="*/ 147 w 154"/>
                <a:gd name="T51" fmla="*/ 61 h 77"/>
                <a:gd name="T52" fmla="*/ 132 w 154"/>
                <a:gd name="T53" fmla="*/ 6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4" h="77">
                  <a:moveTo>
                    <a:pt x="132" y="61"/>
                  </a:moveTo>
                  <a:cubicBezTo>
                    <a:pt x="131" y="57"/>
                    <a:pt x="129" y="53"/>
                    <a:pt x="127" y="49"/>
                  </a:cubicBezTo>
                  <a:cubicBezTo>
                    <a:pt x="138" y="38"/>
                    <a:pt x="138" y="38"/>
                    <a:pt x="138" y="38"/>
                  </a:cubicBezTo>
                  <a:cubicBezTo>
                    <a:pt x="141" y="36"/>
                    <a:pt x="141" y="32"/>
                    <a:pt x="138" y="29"/>
                  </a:cubicBezTo>
                  <a:cubicBezTo>
                    <a:pt x="125" y="16"/>
                    <a:pt x="125" y="16"/>
                    <a:pt x="125" y="16"/>
                  </a:cubicBezTo>
                  <a:cubicBezTo>
                    <a:pt x="122" y="13"/>
                    <a:pt x="118" y="13"/>
                    <a:pt x="115" y="16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1" y="24"/>
                    <a:pt x="97" y="23"/>
                    <a:pt x="93" y="21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93" y="3"/>
                    <a:pt x="90" y="0"/>
                    <a:pt x="8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4" y="0"/>
                    <a:pt x="61" y="3"/>
                    <a:pt x="61" y="6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57" y="23"/>
                    <a:pt x="53" y="24"/>
                    <a:pt x="49" y="2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3"/>
                    <a:pt x="32" y="13"/>
                    <a:pt x="29" y="16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3" y="32"/>
                    <a:pt x="13" y="36"/>
                    <a:pt x="16" y="38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5" y="53"/>
                    <a:pt x="23" y="57"/>
                    <a:pt x="22" y="61"/>
                  </a:cubicBezTo>
                  <a:cubicBezTo>
                    <a:pt x="7" y="61"/>
                    <a:pt x="7" y="61"/>
                    <a:pt x="7" y="61"/>
                  </a:cubicBezTo>
                  <a:cubicBezTo>
                    <a:pt x="3" y="61"/>
                    <a:pt x="0" y="64"/>
                    <a:pt x="0" y="67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4" y="77"/>
                    <a:pt x="154" y="77"/>
                    <a:pt x="154" y="77"/>
                  </a:cubicBezTo>
                  <a:cubicBezTo>
                    <a:pt x="154" y="67"/>
                    <a:pt x="154" y="67"/>
                    <a:pt x="154" y="67"/>
                  </a:cubicBezTo>
                  <a:cubicBezTo>
                    <a:pt x="154" y="64"/>
                    <a:pt x="151" y="61"/>
                    <a:pt x="147" y="61"/>
                  </a:cubicBezTo>
                  <a:lnTo>
                    <a:pt x="132" y="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Freeform 272">
              <a:extLst>
                <a:ext uri="{FF2B5EF4-FFF2-40B4-BE49-F238E27FC236}">
                  <a16:creationId xmlns:a16="http://schemas.microsoft.com/office/drawing/2014/main" id="{AECD99A4-724C-6104-DDDF-38454489E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4363" y="5900738"/>
              <a:ext cx="287338" cy="147638"/>
            </a:xfrm>
            <a:custGeom>
              <a:avLst/>
              <a:gdLst>
                <a:gd name="T0" fmla="*/ 76 w 76"/>
                <a:gd name="T1" fmla="*/ 39 h 39"/>
                <a:gd name="T2" fmla="*/ 0 w 76"/>
                <a:gd name="T3" fmla="*/ 39 h 39"/>
                <a:gd name="T4" fmla="*/ 38 w 76"/>
                <a:gd name="T5" fmla="*/ 0 h 39"/>
                <a:gd name="T6" fmla="*/ 76 w 76"/>
                <a:gd name="T7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39">
                  <a:moveTo>
                    <a:pt x="76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18"/>
                    <a:pt x="17" y="0"/>
                    <a:pt x="38" y="0"/>
                  </a:cubicBezTo>
                  <a:cubicBezTo>
                    <a:pt x="59" y="0"/>
                    <a:pt x="76" y="18"/>
                    <a:pt x="76" y="39"/>
                  </a:cubicBez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11DDD37A-9F14-CF88-E53F-3992A6B87BD4}"/>
              </a:ext>
            </a:extLst>
          </p:cNvPr>
          <p:cNvGrpSpPr/>
          <p:nvPr/>
        </p:nvGrpSpPr>
        <p:grpSpPr>
          <a:xfrm>
            <a:off x="821028" y="3340521"/>
            <a:ext cx="235913" cy="178149"/>
            <a:chOff x="10531475" y="5465763"/>
            <a:chExt cx="771525" cy="582613"/>
          </a:xfrm>
          <a:effectLst>
            <a:outerShdw dist="254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78" name="Freeform 265">
              <a:extLst>
                <a:ext uri="{FF2B5EF4-FFF2-40B4-BE49-F238E27FC236}">
                  <a16:creationId xmlns:a16="http://schemas.microsoft.com/office/drawing/2014/main" id="{43DCE21F-0439-E8A0-E4A1-37D3660253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771525" cy="582613"/>
            </a:xfrm>
            <a:custGeom>
              <a:avLst/>
              <a:gdLst>
                <a:gd name="T0" fmla="*/ 179 w 204"/>
                <a:gd name="T1" fmla="*/ 0 h 154"/>
                <a:gd name="T2" fmla="*/ 25 w 204"/>
                <a:gd name="T3" fmla="*/ 0 h 154"/>
                <a:gd name="T4" fmla="*/ 0 w 204"/>
                <a:gd name="T5" fmla="*/ 26 h 154"/>
                <a:gd name="T6" fmla="*/ 0 w 204"/>
                <a:gd name="T7" fmla="*/ 147 h 154"/>
                <a:gd name="T8" fmla="*/ 6 w 204"/>
                <a:gd name="T9" fmla="*/ 154 h 154"/>
                <a:gd name="T10" fmla="*/ 198 w 204"/>
                <a:gd name="T11" fmla="*/ 154 h 154"/>
                <a:gd name="T12" fmla="*/ 204 w 204"/>
                <a:gd name="T13" fmla="*/ 147 h 154"/>
                <a:gd name="T14" fmla="*/ 204 w 204"/>
                <a:gd name="T15" fmla="*/ 26 h 154"/>
                <a:gd name="T16" fmla="*/ 179 w 204"/>
                <a:gd name="T17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154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51"/>
                    <a:pt x="2" y="154"/>
                    <a:pt x="6" y="154"/>
                  </a:cubicBezTo>
                  <a:cubicBezTo>
                    <a:pt x="198" y="154"/>
                    <a:pt x="198" y="154"/>
                    <a:pt x="198" y="154"/>
                  </a:cubicBezTo>
                  <a:cubicBezTo>
                    <a:pt x="202" y="154"/>
                    <a:pt x="204" y="151"/>
                    <a:pt x="204" y="147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059B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Freeform 266">
              <a:extLst>
                <a:ext uri="{FF2B5EF4-FFF2-40B4-BE49-F238E27FC236}">
                  <a16:creationId xmlns:a16="http://schemas.microsoft.com/office/drawing/2014/main" id="{8CA69176-A68F-B11F-3D89-20D2E9B9BE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525463" cy="530225"/>
            </a:xfrm>
            <a:custGeom>
              <a:avLst/>
              <a:gdLst>
                <a:gd name="T0" fmla="*/ 139 w 139"/>
                <a:gd name="T1" fmla="*/ 0 h 140"/>
                <a:gd name="T2" fmla="*/ 25 w 139"/>
                <a:gd name="T3" fmla="*/ 0 h 140"/>
                <a:gd name="T4" fmla="*/ 0 w 139"/>
                <a:gd name="T5" fmla="*/ 26 h 140"/>
                <a:gd name="T6" fmla="*/ 0 w 139"/>
                <a:gd name="T7" fmla="*/ 140 h 140"/>
                <a:gd name="T8" fmla="*/ 139 w 139"/>
                <a:gd name="T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140">
                  <a:moveTo>
                    <a:pt x="13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140"/>
                    <a:pt x="0" y="140"/>
                    <a:pt x="0" y="140"/>
                  </a:cubicBezTo>
                  <a:lnTo>
                    <a:pt x="139" y="0"/>
                  </a:lnTo>
                  <a:close/>
                </a:path>
              </a:pathLst>
            </a:cu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Freeform 267">
              <a:extLst>
                <a:ext uri="{FF2B5EF4-FFF2-40B4-BE49-F238E27FC236}">
                  <a16:creationId xmlns:a16="http://schemas.microsoft.com/office/drawing/2014/main" id="{B975E98B-C5AF-1B86-FDBE-4918B7EC9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771525" cy="147638"/>
            </a:xfrm>
            <a:custGeom>
              <a:avLst/>
              <a:gdLst>
                <a:gd name="T0" fmla="*/ 179 w 204"/>
                <a:gd name="T1" fmla="*/ 0 h 39"/>
                <a:gd name="T2" fmla="*/ 25 w 204"/>
                <a:gd name="T3" fmla="*/ 0 h 39"/>
                <a:gd name="T4" fmla="*/ 0 w 204"/>
                <a:gd name="T5" fmla="*/ 26 h 39"/>
                <a:gd name="T6" fmla="*/ 0 w 204"/>
                <a:gd name="T7" fmla="*/ 39 h 39"/>
                <a:gd name="T8" fmla="*/ 204 w 204"/>
                <a:gd name="T9" fmla="*/ 39 h 39"/>
                <a:gd name="T10" fmla="*/ 204 w 204"/>
                <a:gd name="T11" fmla="*/ 26 h 39"/>
                <a:gd name="T12" fmla="*/ 179 w 204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204" y="39"/>
                    <a:pt x="204" y="39"/>
                    <a:pt x="204" y="39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1" name="Oval 268">
              <a:extLst>
                <a:ext uri="{FF2B5EF4-FFF2-40B4-BE49-F238E27FC236}">
                  <a16:creationId xmlns:a16="http://schemas.microsoft.com/office/drawing/2014/main" id="{F7B569A2-7D18-6738-97B4-CFD3C5D22E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15613" y="5514975"/>
              <a:ext cx="49213" cy="49213"/>
            </a:xfrm>
            <a:prstGeom prst="ellipse">
              <a:avLst/>
            </a:pr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Oval 269">
              <a:extLst>
                <a:ext uri="{FF2B5EF4-FFF2-40B4-BE49-F238E27FC236}">
                  <a16:creationId xmlns:a16="http://schemas.microsoft.com/office/drawing/2014/main" id="{4DA52877-B7C9-13EC-46E6-BF4B98F915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14038" y="5514975"/>
              <a:ext cx="44450" cy="49213"/>
            </a:xfrm>
            <a:prstGeom prst="ellipse">
              <a:avLst/>
            </a:pr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3" name="Oval 270">
              <a:extLst>
                <a:ext uri="{FF2B5EF4-FFF2-40B4-BE49-F238E27FC236}">
                  <a16:creationId xmlns:a16="http://schemas.microsoft.com/office/drawing/2014/main" id="{5684A96C-64ED-C209-4E33-464FE0BED6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07700" y="5514975"/>
              <a:ext cx="49213" cy="49213"/>
            </a:xfrm>
            <a:prstGeom prst="ellipse">
              <a:avLst/>
            </a:prstGeom>
            <a:solidFill>
              <a:srgbClr val="4AC3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4" name="Freeform 271">
              <a:extLst>
                <a:ext uri="{FF2B5EF4-FFF2-40B4-BE49-F238E27FC236}">
                  <a16:creationId xmlns:a16="http://schemas.microsoft.com/office/drawing/2014/main" id="{4C423CE4-B18A-AEAA-3E60-2BBE686105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725" y="5757863"/>
              <a:ext cx="582613" cy="290513"/>
            </a:xfrm>
            <a:custGeom>
              <a:avLst/>
              <a:gdLst>
                <a:gd name="T0" fmla="*/ 132 w 154"/>
                <a:gd name="T1" fmla="*/ 61 h 77"/>
                <a:gd name="T2" fmla="*/ 127 w 154"/>
                <a:gd name="T3" fmla="*/ 49 h 77"/>
                <a:gd name="T4" fmla="*/ 138 w 154"/>
                <a:gd name="T5" fmla="*/ 38 h 77"/>
                <a:gd name="T6" fmla="*/ 138 w 154"/>
                <a:gd name="T7" fmla="*/ 29 h 77"/>
                <a:gd name="T8" fmla="*/ 125 w 154"/>
                <a:gd name="T9" fmla="*/ 16 h 77"/>
                <a:gd name="T10" fmla="*/ 115 w 154"/>
                <a:gd name="T11" fmla="*/ 16 h 77"/>
                <a:gd name="T12" fmla="*/ 105 w 154"/>
                <a:gd name="T13" fmla="*/ 26 h 77"/>
                <a:gd name="T14" fmla="*/ 93 w 154"/>
                <a:gd name="T15" fmla="*/ 21 h 77"/>
                <a:gd name="T16" fmla="*/ 93 w 154"/>
                <a:gd name="T17" fmla="*/ 6 h 77"/>
                <a:gd name="T18" fmla="*/ 87 w 154"/>
                <a:gd name="T19" fmla="*/ 0 h 77"/>
                <a:gd name="T20" fmla="*/ 67 w 154"/>
                <a:gd name="T21" fmla="*/ 0 h 77"/>
                <a:gd name="T22" fmla="*/ 61 w 154"/>
                <a:gd name="T23" fmla="*/ 6 h 77"/>
                <a:gd name="T24" fmla="*/ 61 w 154"/>
                <a:gd name="T25" fmla="*/ 21 h 77"/>
                <a:gd name="T26" fmla="*/ 49 w 154"/>
                <a:gd name="T27" fmla="*/ 26 h 77"/>
                <a:gd name="T28" fmla="*/ 39 w 154"/>
                <a:gd name="T29" fmla="*/ 16 h 77"/>
                <a:gd name="T30" fmla="*/ 29 w 154"/>
                <a:gd name="T31" fmla="*/ 16 h 77"/>
                <a:gd name="T32" fmla="*/ 16 w 154"/>
                <a:gd name="T33" fmla="*/ 29 h 77"/>
                <a:gd name="T34" fmla="*/ 16 w 154"/>
                <a:gd name="T35" fmla="*/ 38 h 77"/>
                <a:gd name="T36" fmla="*/ 27 w 154"/>
                <a:gd name="T37" fmla="*/ 49 h 77"/>
                <a:gd name="T38" fmla="*/ 22 w 154"/>
                <a:gd name="T39" fmla="*/ 61 h 77"/>
                <a:gd name="T40" fmla="*/ 7 w 154"/>
                <a:gd name="T41" fmla="*/ 61 h 77"/>
                <a:gd name="T42" fmla="*/ 0 w 154"/>
                <a:gd name="T43" fmla="*/ 67 h 77"/>
                <a:gd name="T44" fmla="*/ 0 w 154"/>
                <a:gd name="T45" fmla="*/ 77 h 77"/>
                <a:gd name="T46" fmla="*/ 154 w 154"/>
                <a:gd name="T47" fmla="*/ 77 h 77"/>
                <a:gd name="T48" fmla="*/ 154 w 154"/>
                <a:gd name="T49" fmla="*/ 67 h 77"/>
                <a:gd name="T50" fmla="*/ 147 w 154"/>
                <a:gd name="T51" fmla="*/ 61 h 77"/>
                <a:gd name="T52" fmla="*/ 132 w 154"/>
                <a:gd name="T53" fmla="*/ 6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4" h="77">
                  <a:moveTo>
                    <a:pt x="132" y="61"/>
                  </a:moveTo>
                  <a:cubicBezTo>
                    <a:pt x="131" y="57"/>
                    <a:pt x="129" y="53"/>
                    <a:pt x="127" y="49"/>
                  </a:cubicBezTo>
                  <a:cubicBezTo>
                    <a:pt x="138" y="38"/>
                    <a:pt x="138" y="38"/>
                    <a:pt x="138" y="38"/>
                  </a:cubicBezTo>
                  <a:cubicBezTo>
                    <a:pt x="141" y="36"/>
                    <a:pt x="141" y="32"/>
                    <a:pt x="138" y="29"/>
                  </a:cubicBezTo>
                  <a:cubicBezTo>
                    <a:pt x="125" y="16"/>
                    <a:pt x="125" y="16"/>
                    <a:pt x="125" y="16"/>
                  </a:cubicBezTo>
                  <a:cubicBezTo>
                    <a:pt x="122" y="13"/>
                    <a:pt x="118" y="13"/>
                    <a:pt x="115" y="16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1" y="24"/>
                    <a:pt x="97" y="23"/>
                    <a:pt x="93" y="21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93" y="3"/>
                    <a:pt x="90" y="0"/>
                    <a:pt x="8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4" y="0"/>
                    <a:pt x="61" y="3"/>
                    <a:pt x="61" y="6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57" y="23"/>
                    <a:pt x="53" y="24"/>
                    <a:pt x="49" y="2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3"/>
                    <a:pt x="32" y="13"/>
                    <a:pt x="29" y="16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3" y="32"/>
                    <a:pt x="13" y="36"/>
                    <a:pt x="16" y="38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5" y="53"/>
                    <a:pt x="23" y="57"/>
                    <a:pt x="22" y="61"/>
                  </a:cubicBezTo>
                  <a:cubicBezTo>
                    <a:pt x="7" y="61"/>
                    <a:pt x="7" y="61"/>
                    <a:pt x="7" y="61"/>
                  </a:cubicBezTo>
                  <a:cubicBezTo>
                    <a:pt x="3" y="61"/>
                    <a:pt x="0" y="64"/>
                    <a:pt x="0" y="67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4" y="77"/>
                    <a:pt x="154" y="77"/>
                    <a:pt x="154" y="77"/>
                  </a:cubicBezTo>
                  <a:cubicBezTo>
                    <a:pt x="154" y="67"/>
                    <a:pt x="154" y="67"/>
                    <a:pt x="154" y="67"/>
                  </a:cubicBezTo>
                  <a:cubicBezTo>
                    <a:pt x="154" y="64"/>
                    <a:pt x="151" y="61"/>
                    <a:pt x="147" y="61"/>
                  </a:cubicBezTo>
                  <a:lnTo>
                    <a:pt x="132" y="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5" name="Freeform 272">
              <a:extLst>
                <a:ext uri="{FF2B5EF4-FFF2-40B4-BE49-F238E27FC236}">
                  <a16:creationId xmlns:a16="http://schemas.microsoft.com/office/drawing/2014/main" id="{7B7E0640-6B5E-9514-E589-03ABAEA2DF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4363" y="5900738"/>
              <a:ext cx="287338" cy="147638"/>
            </a:xfrm>
            <a:custGeom>
              <a:avLst/>
              <a:gdLst>
                <a:gd name="T0" fmla="*/ 76 w 76"/>
                <a:gd name="T1" fmla="*/ 39 h 39"/>
                <a:gd name="T2" fmla="*/ 0 w 76"/>
                <a:gd name="T3" fmla="*/ 39 h 39"/>
                <a:gd name="T4" fmla="*/ 38 w 76"/>
                <a:gd name="T5" fmla="*/ 0 h 39"/>
                <a:gd name="T6" fmla="*/ 76 w 76"/>
                <a:gd name="T7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39">
                  <a:moveTo>
                    <a:pt x="76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18"/>
                    <a:pt x="17" y="0"/>
                    <a:pt x="38" y="0"/>
                  </a:cubicBezTo>
                  <a:cubicBezTo>
                    <a:pt x="59" y="0"/>
                    <a:pt x="76" y="18"/>
                    <a:pt x="76" y="39"/>
                  </a:cubicBez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AB687C6F-C995-C3E3-26C6-363A0F923404}"/>
              </a:ext>
            </a:extLst>
          </p:cNvPr>
          <p:cNvGrpSpPr/>
          <p:nvPr/>
        </p:nvGrpSpPr>
        <p:grpSpPr>
          <a:xfrm>
            <a:off x="849587" y="4113159"/>
            <a:ext cx="235913" cy="178149"/>
            <a:chOff x="10531475" y="5465763"/>
            <a:chExt cx="771525" cy="582613"/>
          </a:xfrm>
          <a:effectLst>
            <a:outerShdw dist="254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87" name="Freeform 265">
              <a:extLst>
                <a:ext uri="{FF2B5EF4-FFF2-40B4-BE49-F238E27FC236}">
                  <a16:creationId xmlns:a16="http://schemas.microsoft.com/office/drawing/2014/main" id="{12EEF1A7-25ED-2095-36E2-EA15560F85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771525" cy="582613"/>
            </a:xfrm>
            <a:custGeom>
              <a:avLst/>
              <a:gdLst>
                <a:gd name="T0" fmla="*/ 179 w 204"/>
                <a:gd name="T1" fmla="*/ 0 h 154"/>
                <a:gd name="T2" fmla="*/ 25 w 204"/>
                <a:gd name="T3" fmla="*/ 0 h 154"/>
                <a:gd name="T4" fmla="*/ 0 w 204"/>
                <a:gd name="T5" fmla="*/ 26 h 154"/>
                <a:gd name="T6" fmla="*/ 0 w 204"/>
                <a:gd name="T7" fmla="*/ 147 h 154"/>
                <a:gd name="T8" fmla="*/ 6 w 204"/>
                <a:gd name="T9" fmla="*/ 154 h 154"/>
                <a:gd name="T10" fmla="*/ 198 w 204"/>
                <a:gd name="T11" fmla="*/ 154 h 154"/>
                <a:gd name="T12" fmla="*/ 204 w 204"/>
                <a:gd name="T13" fmla="*/ 147 h 154"/>
                <a:gd name="T14" fmla="*/ 204 w 204"/>
                <a:gd name="T15" fmla="*/ 26 h 154"/>
                <a:gd name="T16" fmla="*/ 179 w 204"/>
                <a:gd name="T17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154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51"/>
                    <a:pt x="2" y="154"/>
                    <a:pt x="6" y="154"/>
                  </a:cubicBezTo>
                  <a:cubicBezTo>
                    <a:pt x="198" y="154"/>
                    <a:pt x="198" y="154"/>
                    <a:pt x="198" y="154"/>
                  </a:cubicBezTo>
                  <a:cubicBezTo>
                    <a:pt x="202" y="154"/>
                    <a:pt x="204" y="151"/>
                    <a:pt x="204" y="147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059B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Freeform 266">
              <a:extLst>
                <a:ext uri="{FF2B5EF4-FFF2-40B4-BE49-F238E27FC236}">
                  <a16:creationId xmlns:a16="http://schemas.microsoft.com/office/drawing/2014/main" id="{446E650E-7ED7-DCBF-7489-68EF3C35B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525463" cy="530225"/>
            </a:xfrm>
            <a:custGeom>
              <a:avLst/>
              <a:gdLst>
                <a:gd name="T0" fmla="*/ 139 w 139"/>
                <a:gd name="T1" fmla="*/ 0 h 140"/>
                <a:gd name="T2" fmla="*/ 25 w 139"/>
                <a:gd name="T3" fmla="*/ 0 h 140"/>
                <a:gd name="T4" fmla="*/ 0 w 139"/>
                <a:gd name="T5" fmla="*/ 26 h 140"/>
                <a:gd name="T6" fmla="*/ 0 w 139"/>
                <a:gd name="T7" fmla="*/ 140 h 140"/>
                <a:gd name="T8" fmla="*/ 139 w 139"/>
                <a:gd name="T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140">
                  <a:moveTo>
                    <a:pt x="13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140"/>
                    <a:pt x="0" y="140"/>
                    <a:pt x="0" y="140"/>
                  </a:cubicBezTo>
                  <a:lnTo>
                    <a:pt x="139" y="0"/>
                  </a:lnTo>
                  <a:close/>
                </a:path>
              </a:pathLst>
            </a:cu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9" name="Freeform 267">
              <a:extLst>
                <a:ext uri="{FF2B5EF4-FFF2-40B4-BE49-F238E27FC236}">
                  <a16:creationId xmlns:a16="http://schemas.microsoft.com/office/drawing/2014/main" id="{05B8B66B-8C7A-EA8D-CAB9-D9E63F70D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771525" cy="147638"/>
            </a:xfrm>
            <a:custGeom>
              <a:avLst/>
              <a:gdLst>
                <a:gd name="T0" fmla="*/ 179 w 204"/>
                <a:gd name="T1" fmla="*/ 0 h 39"/>
                <a:gd name="T2" fmla="*/ 25 w 204"/>
                <a:gd name="T3" fmla="*/ 0 h 39"/>
                <a:gd name="T4" fmla="*/ 0 w 204"/>
                <a:gd name="T5" fmla="*/ 26 h 39"/>
                <a:gd name="T6" fmla="*/ 0 w 204"/>
                <a:gd name="T7" fmla="*/ 39 h 39"/>
                <a:gd name="T8" fmla="*/ 204 w 204"/>
                <a:gd name="T9" fmla="*/ 39 h 39"/>
                <a:gd name="T10" fmla="*/ 204 w 204"/>
                <a:gd name="T11" fmla="*/ 26 h 39"/>
                <a:gd name="T12" fmla="*/ 179 w 204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204" y="39"/>
                    <a:pt x="204" y="39"/>
                    <a:pt x="204" y="39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Oval 268">
              <a:extLst>
                <a:ext uri="{FF2B5EF4-FFF2-40B4-BE49-F238E27FC236}">
                  <a16:creationId xmlns:a16="http://schemas.microsoft.com/office/drawing/2014/main" id="{B218D3B5-EC3A-17D8-99B4-1469BFC2CD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15613" y="5514975"/>
              <a:ext cx="49213" cy="49213"/>
            </a:xfrm>
            <a:prstGeom prst="ellipse">
              <a:avLst/>
            </a:pr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5" name="Oval 269">
              <a:extLst>
                <a:ext uri="{FF2B5EF4-FFF2-40B4-BE49-F238E27FC236}">
                  <a16:creationId xmlns:a16="http://schemas.microsoft.com/office/drawing/2014/main" id="{4D2A8C84-E6F0-D9BE-123E-DD26249B1A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14038" y="5514975"/>
              <a:ext cx="44450" cy="49213"/>
            </a:xfrm>
            <a:prstGeom prst="ellipse">
              <a:avLst/>
            </a:pr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6" name="Oval 270">
              <a:extLst>
                <a:ext uri="{FF2B5EF4-FFF2-40B4-BE49-F238E27FC236}">
                  <a16:creationId xmlns:a16="http://schemas.microsoft.com/office/drawing/2014/main" id="{D865DAF7-4835-DE94-9E4D-1EA351DC6F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07700" y="5514975"/>
              <a:ext cx="49213" cy="49213"/>
            </a:xfrm>
            <a:prstGeom prst="ellipse">
              <a:avLst/>
            </a:prstGeom>
            <a:solidFill>
              <a:srgbClr val="4AC3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7" name="Freeform 271">
              <a:extLst>
                <a:ext uri="{FF2B5EF4-FFF2-40B4-BE49-F238E27FC236}">
                  <a16:creationId xmlns:a16="http://schemas.microsoft.com/office/drawing/2014/main" id="{FB89B078-D111-0777-52CD-A2AE2FFDA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725" y="5757863"/>
              <a:ext cx="582613" cy="290513"/>
            </a:xfrm>
            <a:custGeom>
              <a:avLst/>
              <a:gdLst>
                <a:gd name="T0" fmla="*/ 132 w 154"/>
                <a:gd name="T1" fmla="*/ 61 h 77"/>
                <a:gd name="T2" fmla="*/ 127 w 154"/>
                <a:gd name="T3" fmla="*/ 49 h 77"/>
                <a:gd name="T4" fmla="*/ 138 w 154"/>
                <a:gd name="T5" fmla="*/ 38 h 77"/>
                <a:gd name="T6" fmla="*/ 138 w 154"/>
                <a:gd name="T7" fmla="*/ 29 h 77"/>
                <a:gd name="T8" fmla="*/ 125 w 154"/>
                <a:gd name="T9" fmla="*/ 16 h 77"/>
                <a:gd name="T10" fmla="*/ 115 w 154"/>
                <a:gd name="T11" fmla="*/ 16 h 77"/>
                <a:gd name="T12" fmla="*/ 105 w 154"/>
                <a:gd name="T13" fmla="*/ 26 h 77"/>
                <a:gd name="T14" fmla="*/ 93 w 154"/>
                <a:gd name="T15" fmla="*/ 21 h 77"/>
                <a:gd name="T16" fmla="*/ 93 w 154"/>
                <a:gd name="T17" fmla="*/ 6 h 77"/>
                <a:gd name="T18" fmla="*/ 87 w 154"/>
                <a:gd name="T19" fmla="*/ 0 h 77"/>
                <a:gd name="T20" fmla="*/ 67 w 154"/>
                <a:gd name="T21" fmla="*/ 0 h 77"/>
                <a:gd name="T22" fmla="*/ 61 w 154"/>
                <a:gd name="T23" fmla="*/ 6 h 77"/>
                <a:gd name="T24" fmla="*/ 61 w 154"/>
                <a:gd name="T25" fmla="*/ 21 h 77"/>
                <a:gd name="T26" fmla="*/ 49 w 154"/>
                <a:gd name="T27" fmla="*/ 26 h 77"/>
                <a:gd name="T28" fmla="*/ 39 w 154"/>
                <a:gd name="T29" fmla="*/ 16 h 77"/>
                <a:gd name="T30" fmla="*/ 29 w 154"/>
                <a:gd name="T31" fmla="*/ 16 h 77"/>
                <a:gd name="T32" fmla="*/ 16 w 154"/>
                <a:gd name="T33" fmla="*/ 29 h 77"/>
                <a:gd name="T34" fmla="*/ 16 w 154"/>
                <a:gd name="T35" fmla="*/ 38 h 77"/>
                <a:gd name="T36" fmla="*/ 27 w 154"/>
                <a:gd name="T37" fmla="*/ 49 h 77"/>
                <a:gd name="T38" fmla="*/ 22 w 154"/>
                <a:gd name="T39" fmla="*/ 61 h 77"/>
                <a:gd name="T40" fmla="*/ 7 w 154"/>
                <a:gd name="T41" fmla="*/ 61 h 77"/>
                <a:gd name="T42" fmla="*/ 0 w 154"/>
                <a:gd name="T43" fmla="*/ 67 h 77"/>
                <a:gd name="T44" fmla="*/ 0 w 154"/>
                <a:gd name="T45" fmla="*/ 77 h 77"/>
                <a:gd name="T46" fmla="*/ 154 w 154"/>
                <a:gd name="T47" fmla="*/ 77 h 77"/>
                <a:gd name="T48" fmla="*/ 154 w 154"/>
                <a:gd name="T49" fmla="*/ 67 h 77"/>
                <a:gd name="T50" fmla="*/ 147 w 154"/>
                <a:gd name="T51" fmla="*/ 61 h 77"/>
                <a:gd name="T52" fmla="*/ 132 w 154"/>
                <a:gd name="T53" fmla="*/ 6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4" h="77">
                  <a:moveTo>
                    <a:pt x="132" y="61"/>
                  </a:moveTo>
                  <a:cubicBezTo>
                    <a:pt x="131" y="57"/>
                    <a:pt x="129" y="53"/>
                    <a:pt x="127" y="49"/>
                  </a:cubicBezTo>
                  <a:cubicBezTo>
                    <a:pt x="138" y="38"/>
                    <a:pt x="138" y="38"/>
                    <a:pt x="138" y="38"/>
                  </a:cubicBezTo>
                  <a:cubicBezTo>
                    <a:pt x="141" y="36"/>
                    <a:pt x="141" y="32"/>
                    <a:pt x="138" y="29"/>
                  </a:cubicBezTo>
                  <a:cubicBezTo>
                    <a:pt x="125" y="16"/>
                    <a:pt x="125" y="16"/>
                    <a:pt x="125" y="16"/>
                  </a:cubicBezTo>
                  <a:cubicBezTo>
                    <a:pt x="122" y="13"/>
                    <a:pt x="118" y="13"/>
                    <a:pt x="115" y="16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1" y="24"/>
                    <a:pt x="97" y="23"/>
                    <a:pt x="93" y="21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93" y="3"/>
                    <a:pt x="90" y="0"/>
                    <a:pt x="8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4" y="0"/>
                    <a:pt x="61" y="3"/>
                    <a:pt x="61" y="6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57" y="23"/>
                    <a:pt x="53" y="24"/>
                    <a:pt x="49" y="2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3"/>
                    <a:pt x="32" y="13"/>
                    <a:pt x="29" y="16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3" y="32"/>
                    <a:pt x="13" y="36"/>
                    <a:pt x="16" y="38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5" y="53"/>
                    <a:pt x="23" y="57"/>
                    <a:pt x="22" y="61"/>
                  </a:cubicBezTo>
                  <a:cubicBezTo>
                    <a:pt x="7" y="61"/>
                    <a:pt x="7" y="61"/>
                    <a:pt x="7" y="61"/>
                  </a:cubicBezTo>
                  <a:cubicBezTo>
                    <a:pt x="3" y="61"/>
                    <a:pt x="0" y="64"/>
                    <a:pt x="0" y="67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4" y="77"/>
                    <a:pt x="154" y="77"/>
                    <a:pt x="154" y="77"/>
                  </a:cubicBezTo>
                  <a:cubicBezTo>
                    <a:pt x="154" y="67"/>
                    <a:pt x="154" y="67"/>
                    <a:pt x="154" y="67"/>
                  </a:cubicBezTo>
                  <a:cubicBezTo>
                    <a:pt x="154" y="64"/>
                    <a:pt x="151" y="61"/>
                    <a:pt x="147" y="61"/>
                  </a:cubicBezTo>
                  <a:lnTo>
                    <a:pt x="132" y="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2" name="Freeform 272">
              <a:extLst>
                <a:ext uri="{FF2B5EF4-FFF2-40B4-BE49-F238E27FC236}">
                  <a16:creationId xmlns:a16="http://schemas.microsoft.com/office/drawing/2014/main" id="{1F196A6D-F85F-AA03-48CF-5D6365825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4363" y="5900738"/>
              <a:ext cx="287338" cy="147638"/>
            </a:xfrm>
            <a:custGeom>
              <a:avLst/>
              <a:gdLst>
                <a:gd name="T0" fmla="*/ 76 w 76"/>
                <a:gd name="T1" fmla="*/ 39 h 39"/>
                <a:gd name="T2" fmla="*/ 0 w 76"/>
                <a:gd name="T3" fmla="*/ 39 h 39"/>
                <a:gd name="T4" fmla="*/ 38 w 76"/>
                <a:gd name="T5" fmla="*/ 0 h 39"/>
                <a:gd name="T6" fmla="*/ 76 w 76"/>
                <a:gd name="T7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39">
                  <a:moveTo>
                    <a:pt x="76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18"/>
                    <a:pt x="17" y="0"/>
                    <a:pt x="38" y="0"/>
                  </a:cubicBezTo>
                  <a:cubicBezTo>
                    <a:pt x="59" y="0"/>
                    <a:pt x="76" y="18"/>
                    <a:pt x="76" y="39"/>
                  </a:cubicBez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BDA5BC88-6F36-571E-884D-A4C5C624E016}"/>
              </a:ext>
            </a:extLst>
          </p:cNvPr>
          <p:cNvGrpSpPr/>
          <p:nvPr/>
        </p:nvGrpSpPr>
        <p:grpSpPr>
          <a:xfrm>
            <a:off x="812362" y="4905943"/>
            <a:ext cx="235913" cy="178149"/>
            <a:chOff x="10531475" y="5465763"/>
            <a:chExt cx="771525" cy="582613"/>
          </a:xfrm>
          <a:effectLst>
            <a:outerShdw dist="254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74" name="Freeform 265">
              <a:extLst>
                <a:ext uri="{FF2B5EF4-FFF2-40B4-BE49-F238E27FC236}">
                  <a16:creationId xmlns:a16="http://schemas.microsoft.com/office/drawing/2014/main" id="{D80E05AD-C862-4AB7-31BF-945F72E1FD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771525" cy="582613"/>
            </a:xfrm>
            <a:custGeom>
              <a:avLst/>
              <a:gdLst>
                <a:gd name="T0" fmla="*/ 179 w 204"/>
                <a:gd name="T1" fmla="*/ 0 h 154"/>
                <a:gd name="T2" fmla="*/ 25 w 204"/>
                <a:gd name="T3" fmla="*/ 0 h 154"/>
                <a:gd name="T4" fmla="*/ 0 w 204"/>
                <a:gd name="T5" fmla="*/ 26 h 154"/>
                <a:gd name="T6" fmla="*/ 0 w 204"/>
                <a:gd name="T7" fmla="*/ 147 h 154"/>
                <a:gd name="T8" fmla="*/ 6 w 204"/>
                <a:gd name="T9" fmla="*/ 154 h 154"/>
                <a:gd name="T10" fmla="*/ 198 w 204"/>
                <a:gd name="T11" fmla="*/ 154 h 154"/>
                <a:gd name="T12" fmla="*/ 204 w 204"/>
                <a:gd name="T13" fmla="*/ 147 h 154"/>
                <a:gd name="T14" fmla="*/ 204 w 204"/>
                <a:gd name="T15" fmla="*/ 26 h 154"/>
                <a:gd name="T16" fmla="*/ 179 w 204"/>
                <a:gd name="T17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154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51"/>
                    <a:pt x="2" y="154"/>
                    <a:pt x="6" y="154"/>
                  </a:cubicBezTo>
                  <a:cubicBezTo>
                    <a:pt x="198" y="154"/>
                    <a:pt x="198" y="154"/>
                    <a:pt x="198" y="154"/>
                  </a:cubicBezTo>
                  <a:cubicBezTo>
                    <a:pt x="202" y="154"/>
                    <a:pt x="204" y="151"/>
                    <a:pt x="204" y="147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059B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4" name="Freeform 266">
              <a:extLst>
                <a:ext uri="{FF2B5EF4-FFF2-40B4-BE49-F238E27FC236}">
                  <a16:creationId xmlns:a16="http://schemas.microsoft.com/office/drawing/2014/main" id="{A166E157-9315-6ACE-72EA-767DA52DB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525463" cy="530225"/>
            </a:xfrm>
            <a:custGeom>
              <a:avLst/>
              <a:gdLst>
                <a:gd name="T0" fmla="*/ 139 w 139"/>
                <a:gd name="T1" fmla="*/ 0 h 140"/>
                <a:gd name="T2" fmla="*/ 25 w 139"/>
                <a:gd name="T3" fmla="*/ 0 h 140"/>
                <a:gd name="T4" fmla="*/ 0 w 139"/>
                <a:gd name="T5" fmla="*/ 26 h 140"/>
                <a:gd name="T6" fmla="*/ 0 w 139"/>
                <a:gd name="T7" fmla="*/ 140 h 140"/>
                <a:gd name="T8" fmla="*/ 139 w 139"/>
                <a:gd name="T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140">
                  <a:moveTo>
                    <a:pt x="13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140"/>
                    <a:pt x="0" y="140"/>
                    <a:pt x="0" y="140"/>
                  </a:cubicBezTo>
                  <a:lnTo>
                    <a:pt x="139" y="0"/>
                  </a:lnTo>
                  <a:close/>
                </a:path>
              </a:pathLst>
            </a:cu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0" name="Freeform 267">
              <a:extLst>
                <a:ext uri="{FF2B5EF4-FFF2-40B4-BE49-F238E27FC236}">
                  <a16:creationId xmlns:a16="http://schemas.microsoft.com/office/drawing/2014/main" id="{FEDC8DFC-1EBD-CE34-F7A1-674B82BC5C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771525" cy="147638"/>
            </a:xfrm>
            <a:custGeom>
              <a:avLst/>
              <a:gdLst>
                <a:gd name="T0" fmla="*/ 179 w 204"/>
                <a:gd name="T1" fmla="*/ 0 h 39"/>
                <a:gd name="T2" fmla="*/ 25 w 204"/>
                <a:gd name="T3" fmla="*/ 0 h 39"/>
                <a:gd name="T4" fmla="*/ 0 w 204"/>
                <a:gd name="T5" fmla="*/ 26 h 39"/>
                <a:gd name="T6" fmla="*/ 0 w 204"/>
                <a:gd name="T7" fmla="*/ 39 h 39"/>
                <a:gd name="T8" fmla="*/ 204 w 204"/>
                <a:gd name="T9" fmla="*/ 39 h 39"/>
                <a:gd name="T10" fmla="*/ 204 w 204"/>
                <a:gd name="T11" fmla="*/ 26 h 39"/>
                <a:gd name="T12" fmla="*/ 179 w 204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204" y="39"/>
                    <a:pt x="204" y="39"/>
                    <a:pt x="204" y="39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7" name="Oval 268">
              <a:extLst>
                <a:ext uri="{FF2B5EF4-FFF2-40B4-BE49-F238E27FC236}">
                  <a16:creationId xmlns:a16="http://schemas.microsoft.com/office/drawing/2014/main" id="{E270E503-F807-9B14-07BE-707C13E4EC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15613" y="5514975"/>
              <a:ext cx="49213" cy="49213"/>
            </a:xfrm>
            <a:prstGeom prst="ellipse">
              <a:avLst/>
            </a:pr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8" name="Oval 269">
              <a:extLst>
                <a:ext uri="{FF2B5EF4-FFF2-40B4-BE49-F238E27FC236}">
                  <a16:creationId xmlns:a16="http://schemas.microsoft.com/office/drawing/2014/main" id="{76111AC9-D035-27DA-90FC-AD5C0E20F2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14038" y="5514975"/>
              <a:ext cx="44450" cy="49213"/>
            </a:xfrm>
            <a:prstGeom prst="ellipse">
              <a:avLst/>
            </a:pr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9" name="Oval 270">
              <a:extLst>
                <a:ext uri="{FF2B5EF4-FFF2-40B4-BE49-F238E27FC236}">
                  <a16:creationId xmlns:a16="http://schemas.microsoft.com/office/drawing/2014/main" id="{BFACC278-DB73-4E7D-BDDE-0B3C757373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07700" y="5514975"/>
              <a:ext cx="49213" cy="49213"/>
            </a:xfrm>
            <a:prstGeom prst="ellipse">
              <a:avLst/>
            </a:prstGeom>
            <a:solidFill>
              <a:srgbClr val="4AC3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0" name="Freeform 271">
              <a:extLst>
                <a:ext uri="{FF2B5EF4-FFF2-40B4-BE49-F238E27FC236}">
                  <a16:creationId xmlns:a16="http://schemas.microsoft.com/office/drawing/2014/main" id="{57FAD6CC-4C79-63A9-AA05-13254EE2C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725" y="5757863"/>
              <a:ext cx="582613" cy="290513"/>
            </a:xfrm>
            <a:custGeom>
              <a:avLst/>
              <a:gdLst>
                <a:gd name="T0" fmla="*/ 132 w 154"/>
                <a:gd name="T1" fmla="*/ 61 h 77"/>
                <a:gd name="T2" fmla="*/ 127 w 154"/>
                <a:gd name="T3" fmla="*/ 49 h 77"/>
                <a:gd name="T4" fmla="*/ 138 w 154"/>
                <a:gd name="T5" fmla="*/ 38 h 77"/>
                <a:gd name="T6" fmla="*/ 138 w 154"/>
                <a:gd name="T7" fmla="*/ 29 h 77"/>
                <a:gd name="T8" fmla="*/ 125 w 154"/>
                <a:gd name="T9" fmla="*/ 16 h 77"/>
                <a:gd name="T10" fmla="*/ 115 w 154"/>
                <a:gd name="T11" fmla="*/ 16 h 77"/>
                <a:gd name="T12" fmla="*/ 105 w 154"/>
                <a:gd name="T13" fmla="*/ 26 h 77"/>
                <a:gd name="T14" fmla="*/ 93 w 154"/>
                <a:gd name="T15" fmla="*/ 21 h 77"/>
                <a:gd name="T16" fmla="*/ 93 w 154"/>
                <a:gd name="T17" fmla="*/ 6 h 77"/>
                <a:gd name="T18" fmla="*/ 87 w 154"/>
                <a:gd name="T19" fmla="*/ 0 h 77"/>
                <a:gd name="T20" fmla="*/ 67 w 154"/>
                <a:gd name="T21" fmla="*/ 0 h 77"/>
                <a:gd name="T22" fmla="*/ 61 w 154"/>
                <a:gd name="T23" fmla="*/ 6 h 77"/>
                <a:gd name="T24" fmla="*/ 61 w 154"/>
                <a:gd name="T25" fmla="*/ 21 h 77"/>
                <a:gd name="T26" fmla="*/ 49 w 154"/>
                <a:gd name="T27" fmla="*/ 26 h 77"/>
                <a:gd name="T28" fmla="*/ 39 w 154"/>
                <a:gd name="T29" fmla="*/ 16 h 77"/>
                <a:gd name="T30" fmla="*/ 29 w 154"/>
                <a:gd name="T31" fmla="*/ 16 h 77"/>
                <a:gd name="T32" fmla="*/ 16 w 154"/>
                <a:gd name="T33" fmla="*/ 29 h 77"/>
                <a:gd name="T34" fmla="*/ 16 w 154"/>
                <a:gd name="T35" fmla="*/ 38 h 77"/>
                <a:gd name="T36" fmla="*/ 27 w 154"/>
                <a:gd name="T37" fmla="*/ 49 h 77"/>
                <a:gd name="T38" fmla="*/ 22 w 154"/>
                <a:gd name="T39" fmla="*/ 61 h 77"/>
                <a:gd name="T40" fmla="*/ 7 w 154"/>
                <a:gd name="T41" fmla="*/ 61 h 77"/>
                <a:gd name="T42" fmla="*/ 0 w 154"/>
                <a:gd name="T43" fmla="*/ 67 h 77"/>
                <a:gd name="T44" fmla="*/ 0 w 154"/>
                <a:gd name="T45" fmla="*/ 77 h 77"/>
                <a:gd name="T46" fmla="*/ 154 w 154"/>
                <a:gd name="T47" fmla="*/ 77 h 77"/>
                <a:gd name="T48" fmla="*/ 154 w 154"/>
                <a:gd name="T49" fmla="*/ 67 h 77"/>
                <a:gd name="T50" fmla="*/ 147 w 154"/>
                <a:gd name="T51" fmla="*/ 61 h 77"/>
                <a:gd name="T52" fmla="*/ 132 w 154"/>
                <a:gd name="T53" fmla="*/ 6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4" h="77">
                  <a:moveTo>
                    <a:pt x="132" y="61"/>
                  </a:moveTo>
                  <a:cubicBezTo>
                    <a:pt x="131" y="57"/>
                    <a:pt x="129" y="53"/>
                    <a:pt x="127" y="49"/>
                  </a:cubicBezTo>
                  <a:cubicBezTo>
                    <a:pt x="138" y="38"/>
                    <a:pt x="138" y="38"/>
                    <a:pt x="138" y="38"/>
                  </a:cubicBezTo>
                  <a:cubicBezTo>
                    <a:pt x="141" y="36"/>
                    <a:pt x="141" y="32"/>
                    <a:pt x="138" y="29"/>
                  </a:cubicBezTo>
                  <a:cubicBezTo>
                    <a:pt x="125" y="16"/>
                    <a:pt x="125" y="16"/>
                    <a:pt x="125" y="16"/>
                  </a:cubicBezTo>
                  <a:cubicBezTo>
                    <a:pt x="122" y="13"/>
                    <a:pt x="118" y="13"/>
                    <a:pt x="115" y="16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1" y="24"/>
                    <a:pt x="97" y="23"/>
                    <a:pt x="93" y="21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93" y="3"/>
                    <a:pt x="90" y="0"/>
                    <a:pt x="8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4" y="0"/>
                    <a:pt x="61" y="3"/>
                    <a:pt x="61" y="6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57" y="23"/>
                    <a:pt x="53" y="24"/>
                    <a:pt x="49" y="2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3"/>
                    <a:pt x="32" y="13"/>
                    <a:pt x="29" y="16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3" y="32"/>
                    <a:pt x="13" y="36"/>
                    <a:pt x="16" y="38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5" y="53"/>
                    <a:pt x="23" y="57"/>
                    <a:pt x="22" y="61"/>
                  </a:cubicBezTo>
                  <a:cubicBezTo>
                    <a:pt x="7" y="61"/>
                    <a:pt x="7" y="61"/>
                    <a:pt x="7" y="61"/>
                  </a:cubicBezTo>
                  <a:cubicBezTo>
                    <a:pt x="3" y="61"/>
                    <a:pt x="0" y="64"/>
                    <a:pt x="0" y="67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4" y="77"/>
                    <a:pt x="154" y="77"/>
                    <a:pt x="154" y="77"/>
                  </a:cubicBezTo>
                  <a:cubicBezTo>
                    <a:pt x="154" y="67"/>
                    <a:pt x="154" y="67"/>
                    <a:pt x="154" y="67"/>
                  </a:cubicBezTo>
                  <a:cubicBezTo>
                    <a:pt x="154" y="64"/>
                    <a:pt x="151" y="61"/>
                    <a:pt x="147" y="61"/>
                  </a:cubicBezTo>
                  <a:lnTo>
                    <a:pt x="132" y="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1" name="Freeform 272">
              <a:extLst>
                <a:ext uri="{FF2B5EF4-FFF2-40B4-BE49-F238E27FC236}">
                  <a16:creationId xmlns:a16="http://schemas.microsoft.com/office/drawing/2014/main" id="{1F5767D8-0F5B-B5A0-7421-617E98A9F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4363" y="5900738"/>
              <a:ext cx="287338" cy="147638"/>
            </a:xfrm>
            <a:custGeom>
              <a:avLst/>
              <a:gdLst>
                <a:gd name="T0" fmla="*/ 76 w 76"/>
                <a:gd name="T1" fmla="*/ 39 h 39"/>
                <a:gd name="T2" fmla="*/ 0 w 76"/>
                <a:gd name="T3" fmla="*/ 39 h 39"/>
                <a:gd name="T4" fmla="*/ 38 w 76"/>
                <a:gd name="T5" fmla="*/ 0 h 39"/>
                <a:gd name="T6" fmla="*/ 76 w 76"/>
                <a:gd name="T7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39">
                  <a:moveTo>
                    <a:pt x="76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18"/>
                    <a:pt x="17" y="0"/>
                    <a:pt x="38" y="0"/>
                  </a:cubicBezTo>
                  <a:cubicBezTo>
                    <a:pt x="59" y="0"/>
                    <a:pt x="76" y="18"/>
                    <a:pt x="76" y="39"/>
                  </a:cubicBez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662F4D2F-5896-DC0A-7AFF-A36915FDC86F}"/>
              </a:ext>
            </a:extLst>
          </p:cNvPr>
          <p:cNvGrpSpPr/>
          <p:nvPr/>
        </p:nvGrpSpPr>
        <p:grpSpPr>
          <a:xfrm>
            <a:off x="868035" y="5712416"/>
            <a:ext cx="235913" cy="178149"/>
            <a:chOff x="10531475" y="5465763"/>
            <a:chExt cx="771525" cy="582613"/>
          </a:xfrm>
          <a:effectLst>
            <a:outerShdw dist="254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367" name="Freeform 265">
              <a:extLst>
                <a:ext uri="{FF2B5EF4-FFF2-40B4-BE49-F238E27FC236}">
                  <a16:creationId xmlns:a16="http://schemas.microsoft.com/office/drawing/2014/main" id="{79DA2E57-E9B2-0694-7A95-92AD88682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771525" cy="582613"/>
            </a:xfrm>
            <a:custGeom>
              <a:avLst/>
              <a:gdLst>
                <a:gd name="T0" fmla="*/ 179 w 204"/>
                <a:gd name="T1" fmla="*/ 0 h 154"/>
                <a:gd name="T2" fmla="*/ 25 w 204"/>
                <a:gd name="T3" fmla="*/ 0 h 154"/>
                <a:gd name="T4" fmla="*/ 0 w 204"/>
                <a:gd name="T5" fmla="*/ 26 h 154"/>
                <a:gd name="T6" fmla="*/ 0 w 204"/>
                <a:gd name="T7" fmla="*/ 147 h 154"/>
                <a:gd name="T8" fmla="*/ 6 w 204"/>
                <a:gd name="T9" fmla="*/ 154 h 154"/>
                <a:gd name="T10" fmla="*/ 198 w 204"/>
                <a:gd name="T11" fmla="*/ 154 h 154"/>
                <a:gd name="T12" fmla="*/ 204 w 204"/>
                <a:gd name="T13" fmla="*/ 147 h 154"/>
                <a:gd name="T14" fmla="*/ 204 w 204"/>
                <a:gd name="T15" fmla="*/ 26 h 154"/>
                <a:gd name="T16" fmla="*/ 179 w 204"/>
                <a:gd name="T17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154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51"/>
                    <a:pt x="2" y="154"/>
                    <a:pt x="6" y="154"/>
                  </a:cubicBezTo>
                  <a:cubicBezTo>
                    <a:pt x="198" y="154"/>
                    <a:pt x="198" y="154"/>
                    <a:pt x="198" y="154"/>
                  </a:cubicBezTo>
                  <a:cubicBezTo>
                    <a:pt x="202" y="154"/>
                    <a:pt x="204" y="151"/>
                    <a:pt x="204" y="147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059B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8" name="Freeform 266">
              <a:extLst>
                <a:ext uri="{FF2B5EF4-FFF2-40B4-BE49-F238E27FC236}">
                  <a16:creationId xmlns:a16="http://schemas.microsoft.com/office/drawing/2014/main" id="{017F5BE3-9D33-2C5C-43F3-8C64E12A90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525463" cy="530225"/>
            </a:xfrm>
            <a:custGeom>
              <a:avLst/>
              <a:gdLst>
                <a:gd name="T0" fmla="*/ 139 w 139"/>
                <a:gd name="T1" fmla="*/ 0 h 140"/>
                <a:gd name="T2" fmla="*/ 25 w 139"/>
                <a:gd name="T3" fmla="*/ 0 h 140"/>
                <a:gd name="T4" fmla="*/ 0 w 139"/>
                <a:gd name="T5" fmla="*/ 26 h 140"/>
                <a:gd name="T6" fmla="*/ 0 w 139"/>
                <a:gd name="T7" fmla="*/ 140 h 140"/>
                <a:gd name="T8" fmla="*/ 139 w 139"/>
                <a:gd name="T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140">
                  <a:moveTo>
                    <a:pt x="13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140"/>
                    <a:pt x="0" y="140"/>
                    <a:pt x="0" y="140"/>
                  </a:cubicBezTo>
                  <a:lnTo>
                    <a:pt x="139" y="0"/>
                  </a:lnTo>
                  <a:close/>
                </a:path>
              </a:pathLst>
            </a:cu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9" name="Freeform 267">
              <a:extLst>
                <a:ext uri="{FF2B5EF4-FFF2-40B4-BE49-F238E27FC236}">
                  <a16:creationId xmlns:a16="http://schemas.microsoft.com/office/drawing/2014/main" id="{33D93318-3D01-0ED6-9E5D-3615ECA473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771525" cy="147638"/>
            </a:xfrm>
            <a:custGeom>
              <a:avLst/>
              <a:gdLst>
                <a:gd name="T0" fmla="*/ 179 w 204"/>
                <a:gd name="T1" fmla="*/ 0 h 39"/>
                <a:gd name="T2" fmla="*/ 25 w 204"/>
                <a:gd name="T3" fmla="*/ 0 h 39"/>
                <a:gd name="T4" fmla="*/ 0 w 204"/>
                <a:gd name="T5" fmla="*/ 26 h 39"/>
                <a:gd name="T6" fmla="*/ 0 w 204"/>
                <a:gd name="T7" fmla="*/ 39 h 39"/>
                <a:gd name="T8" fmla="*/ 204 w 204"/>
                <a:gd name="T9" fmla="*/ 39 h 39"/>
                <a:gd name="T10" fmla="*/ 204 w 204"/>
                <a:gd name="T11" fmla="*/ 26 h 39"/>
                <a:gd name="T12" fmla="*/ 179 w 204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204" y="39"/>
                    <a:pt x="204" y="39"/>
                    <a:pt x="204" y="39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0" name="Oval 268">
              <a:extLst>
                <a:ext uri="{FF2B5EF4-FFF2-40B4-BE49-F238E27FC236}">
                  <a16:creationId xmlns:a16="http://schemas.microsoft.com/office/drawing/2014/main" id="{99A768BB-7D4D-9D55-68C4-EBAC7C8E89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15613" y="5514975"/>
              <a:ext cx="49213" cy="49213"/>
            </a:xfrm>
            <a:prstGeom prst="ellipse">
              <a:avLst/>
            </a:pr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1" name="Oval 269">
              <a:extLst>
                <a:ext uri="{FF2B5EF4-FFF2-40B4-BE49-F238E27FC236}">
                  <a16:creationId xmlns:a16="http://schemas.microsoft.com/office/drawing/2014/main" id="{1F0BA618-1E08-FCF6-470C-81FBB8359A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14038" y="5514975"/>
              <a:ext cx="44450" cy="49213"/>
            </a:xfrm>
            <a:prstGeom prst="ellipse">
              <a:avLst/>
            </a:pr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2" name="Oval 270">
              <a:extLst>
                <a:ext uri="{FF2B5EF4-FFF2-40B4-BE49-F238E27FC236}">
                  <a16:creationId xmlns:a16="http://schemas.microsoft.com/office/drawing/2014/main" id="{BE113A34-B835-FDBD-A8D5-DAE1EA2317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07700" y="5514975"/>
              <a:ext cx="49213" cy="49213"/>
            </a:xfrm>
            <a:prstGeom prst="ellipse">
              <a:avLst/>
            </a:prstGeom>
            <a:solidFill>
              <a:srgbClr val="4AC3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3" name="Freeform 271">
              <a:extLst>
                <a:ext uri="{FF2B5EF4-FFF2-40B4-BE49-F238E27FC236}">
                  <a16:creationId xmlns:a16="http://schemas.microsoft.com/office/drawing/2014/main" id="{753D3011-006F-B8A6-46E9-F6CCB56F6B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725" y="5757863"/>
              <a:ext cx="582613" cy="290513"/>
            </a:xfrm>
            <a:custGeom>
              <a:avLst/>
              <a:gdLst>
                <a:gd name="T0" fmla="*/ 132 w 154"/>
                <a:gd name="T1" fmla="*/ 61 h 77"/>
                <a:gd name="T2" fmla="*/ 127 w 154"/>
                <a:gd name="T3" fmla="*/ 49 h 77"/>
                <a:gd name="T4" fmla="*/ 138 w 154"/>
                <a:gd name="T5" fmla="*/ 38 h 77"/>
                <a:gd name="T6" fmla="*/ 138 w 154"/>
                <a:gd name="T7" fmla="*/ 29 h 77"/>
                <a:gd name="T8" fmla="*/ 125 w 154"/>
                <a:gd name="T9" fmla="*/ 16 h 77"/>
                <a:gd name="T10" fmla="*/ 115 w 154"/>
                <a:gd name="T11" fmla="*/ 16 h 77"/>
                <a:gd name="T12" fmla="*/ 105 w 154"/>
                <a:gd name="T13" fmla="*/ 26 h 77"/>
                <a:gd name="T14" fmla="*/ 93 w 154"/>
                <a:gd name="T15" fmla="*/ 21 h 77"/>
                <a:gd name="T16" fmla="*/ 93 w 154"/>
                <a:gd name="T17" fmla="*/ 6 h 77"/>
                <a:gd name="T18" fmla="*/ 87 w 154"/>
                <a:gd name="T19" fmla="*/ 0 h 77"/>
                <a:gd name="T20" fmla="*/ 67 w 154"/>
                <a:gd name="T21" fmla="*/ 0 h 77"/>
                <a:gd name="T22" fmla="*/ 61 w 154"/>
                <a:gd name="T23" fmla="*/ 6 h 77"/>
                <a:gd name="T24" fmla="*/ 61 w 154"/>
                <a:gd name="T25" fmla="*/ 21 h 77"/>
                <a:gd name="T26" fmla="*/ 49 w 154"/>
                <a:gd name="T27" fmla="*/ 26 h 77"/>
                <a:gd name="T28" fmla="*/ 39 w 154"/>
                <a:gd name="T29" fmla="*/ 16 h 77"/>
                <a:gd name="T30" fmla="*/ 29 w 154"/>
                <a:gd name="T31" fmla="*/ 16 h 77"/>
                <a:gd name="T32" fmla="*/ 16 w 154"/>
                <a:gd name="T33" fmla="*/ 29 h 77"/>
                <a:gd name="T34" fmla="*/ 16 w 154"/>
                <a:gd name="T35" fmla="*/ 38 h 77"/>
                <a:gd name="T36" fmla="*/ 27 w 154"/>
                <a:gd name="T37" fmla="*/ 49 h 77"/>
                <a:gd name="T38" fmla="*/ 22 w 154"/>
                <a:gd name="T39" fmla="*/ 61 h 77"/>
                <a:gd name="T40" fmla="*/ 7 w 154"/>
                <a:gd name="T41" fmla="*/ 61 h 77"/>
                <a:gd name="T42" fmla="*/ 0 w 154"/>
                <a:gd name="T43" fmla="*/ 67 h 77"/>
                <a:gd name="T44" fmla="*/ 0 w 154"/>
                <a:gd name="T45" fmla="*/ 77 h 77"/>
                <a:gd name="T46" fmla="*/ 154 w 154"/>
                <a:gd name="T47" fmla="*/ 77 h 77"/>
                <a:gd name="T48" fmla="*/ 154 w 154"/>
                <a:gd name="T49" fmla="*/ 67 h 77"/>
                <a:gd name="T50" fmla="*/ 147 w 154"/>
                <a:gd name="T51" fmla="*/ 61 h 77"/>
                <a:gd name="T52" fmla="*/ 132 w 154"/>
                <a:gd name="T53" fmla="*/ 6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4" h="77">
                  <a:moveTo>
                    <a:pt x="132" y="61"/>
                  </a:moveTo>
                  <a:cubicBezTo>
                    <a:pt x="131" y="57"/>
                    <a:pt x="129" y="53"/>
                    <a:pt x="127" y="49"/>
                  </a:cubicBezTo>
                  <a:cubicBezTo>
                    <a:pt x="138" y="38"/>
                    <a:pt x="138" y="38"/>
                    <a:pt x="138" y="38"/>
                  </a:cubicBezTo>
                  <a:cubicBezTo>
                    <a:pt x="141" y="36"/>
                    <a:pt x="141" y="32"/>
                    <a:pt x="138" y="29"/>
                  </a:cubicBezTo>
                  <a:cubicBezTo>
                    <a:pt x="125" y="16"/>
                    <a:pt x="125" y="16"/>
                    <a:pt x="125" y="16"/>
                  </a:cubicBezTo>
                  <a:cubicBezTo>
                    <a:pt x="122" y="13"/>
                    <a:pt x="118" y="13"/>
                    <a:pt x="115" y="16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1" y="24"/>
                    <a:pt x="97" y="23"/>
                    <a:pt x="93" y="21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93" y="3"/>
                    <a:pt x="90" y="0"/>
                    <a:pt x="8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4" y="0"/>
                    <a:pt x="61" y="3"/>
                    <a:pt x="61" y="6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57" y="23"/>
                    <a:pt x="53" y="24"/>
                    <a:pt x="49" y="2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3"/>
                    <a:pt x="32" y="13"/>
                    <a:pt x="29" y="16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3" y="32"/>
                    <a:pt x="13" y="36"/>
                    <a:pt x="16" y="38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5" y="53"/>
                    <a:pt x="23" y="57"/>
                    <a:pt x="22" y="61"/>
                  </a:cubicBezTo>
                  <a:cubicBezTo>
                    <a:pt x="7" y="61"/>
                    <a:pt x="7" y="61"/>
                    <a:pt x="7" y="61"/>
                  </a:cubicBezTo>
                  <a:cubicBezTo>
                    <a:pt x="3" y="61"/>
                    <a:pt x="0" y="64"/>
                    <a:pt x="0" y="67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4" y="77"/>
                    <a:pt x="154" y="77"/>
                    <a:pt x="154" y="77"/>
                  </a:cubicBezTo>
                  <a:cubicBezTo>
                    <a:pt x="154" y="67"/>
                    <a:pt x="154" y="67"/>
                    <a:pt x="154" y="67"/>
                  </a:cubicBezTo>
                  <a:cubicBezTo>
                    <a:pt x="154" y="64"/>
                    <a:pt x="151" y="61"/>
                    <a:pt x="147" y="61"/>
                  </a:cubicBezTo>
                  <a:lnTo>
                    <a:pt x="132" y="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4" name="Freeform 272">
              <a:extLst>
                <a:ext uri="{FF2B5EF4-FFF2-40B4-BE49-F238E27FC236}">
                  <a16:creationId xmlns:a16="http://schemas.microsoft.com/office/drawing/2014/main" id="{807EA5ED-2FC1-CA3C-71F0-E06CB8660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4363" y="5900738"/>
              <a:ext cx="287338" cy="147638"/>
            </a:xfrm>
            <a:custGeom>
              <a:avLst/>
              <a:gdLst>
                <a:gd name="T0" fmla="*/ 76 w 76"/>
                <a:gd name="T1" fmla="*/ 39 h 39"/>
                <a:gd name="T2" fmla="*/ 0 w 76"/>
                <a:gd name="T3" fmla="*/ 39 h 39"/>
                <a:gd name="T4" fmla="*/ 38 w 76"/>
                <a:gd name="T5" fmla="*/ 0 h 39"/>
                <a:gd name="T6" fmla="*/ 76 w 76"/>
                <a:gd name="T7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39">
                  <a:moveTo>
                    <a:pt x="76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18"/>
                    <a:pt x="17" y="0"/>
                    <a:pt x="38" y="0"/>
                  </a:cubicBezTo>
                  <a:cubicBezTo>
                    <a:pt x="59" y="0"/>
                    <a:pt x="76" y="18"/>
                    <a:pt x="76" y="39"/>
                  </a:cubicBez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8739901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7A70785-B463-47B1-B122-587FAB7F5F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7A70785-B463-47B1-B122-587FAB7F5F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83383D2E-35DD-485A-93B5-4DC7FDFCD1F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2" name="Rectángulo 6175">
            <a:extLst>
              <a:ext uri="{FF2B5EF4-FFF2-40B4-BE49-F238E27FC236}">
                <a16:creationId xmlns:a16="http://schemas.microsoft.com/office/drawing/2014/main" id="{23C290D0-6A72-452F-8582-ADE87DA110D0}"/>
              </a:ext>
            </a:extLst>
          </p:cNvPr>
          <p:cNvSpPr/>
          <p:nvPr/>
        </p:nvSpPr>
        <p:spPr>
          <a:xfrm flipV="1">
            <a:off x="9645188" y="-3"/>
            <a:ext cx="2546812" cy="6858002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3036D63D-5F0C-4766-ADC0-263540C0E3E8}"/>
              </a:ext>
            </a:extLst>
          </p:cNvPr>
          <p:cNvSpPr/>
          <p:nvPr/>
        </p:nvSpPr>
        <p:spPr>
          <a:xfrm rot="16200000">
            <a:off x="8101975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BE949EE-E1FD-4D2F-815C-865A15CEC628}"/>
              </a:ext>
            </a:extLst>
          </p:cNvPr>
          <p:cNvSpPr/>
          <p:nvPr/>
        </p:nvSpPr>
        <p:spPr>
          <a:xfrm>
            <a:off x="6736443" y="321672"/>
            <a:ext cx="4891314" cy="3429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BDF70C0-AE68-4F28-B206-5BECDA2258B4}"/>
              </a:ext>
            </a:extLst>
          </p:cNvPr>
          <p:cNvSpPr/>
          <p:nvPr/>
        </p:nvSpPr>
        <p:spPr>
          <a:xfrm>
            <a:off x="6736443" y="983343"/>
            <a:ext cx="4891314" cy="4891314"/>
          </a:xfrm>
          <a:prstGeom prst="ellipse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CB5E8A7-CBF9-4BE3-AB6A-AC503DDF6722}"/>
              </a:ext>
            </a:extLst>
          </p:cNvPr>
          <p:cNvSpPr/>
          <p:nvPr/>
        </p:nvSpPr>
        <p:spPr>
          <a:xfrm>
            <a:off x="7344642" y="1591542"/>
            <a:ext cx="3674916" cy="367491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3CE20153-770D-4CD4-A193-D94E03C3411A}"/>
              </a:ext>
            </a:extLst>
          </p:cNvPr>
          <p:cNvGrpSpPr/>
          <p:nvPr/>
        </p:nvGrpSpPr>
        <p:grpSpPr>
          <a:xfrm>
            <a:off x="6653150" y="3643997"/>
            <a:ext cx="1293091" cy="1293091"/>
            <a:chOff x="7187500" y="839949"/>
            <a:chExt cx="1422400" cy="1422400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C258DCCD-91D3-47FE-970E-D8F41D38CDEA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568FA93A-9258-4847-946B-9D18E1E01DC7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FFD100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9" name="Oval 58">
            <a:extLst>
              <a:ext uri="{FF2B5EF4-FFF2-40B4-BE49-F238E27FC236}">
                <a16:creationId xmlns:a16="http://schemas.microsoft.com/office/drawing/2014/main" id="{2C461919-26CB-4694-8C8B-0208664275C4}"/>
              </a:ext>
            </a:extLst>
          </p:cNvPr>
          <p:cNvSpPr/>
          <p:nvPr/>
        </p:nvSpPr>
        <p:spPr>
          <a:xfrm>
            <a:off x="4323443" y="3517329"/>
            <a:ext cx="472979" cy="472978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F716B2FA-9E78-4668-AB0D-467B1CE001D0}"/>
              </a:ext>
            </a:extLst>
          </p:cNvPr>
          <p:cNvSpPr/>
          <p:nvPr/>
        </p:nvSpPr>
        <p:spPr>
          <a:xfrm>
            <a:off x="2443843" y="3517329"/>
            <a:ext cx="472979" cy="472978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370B0A9-86A8-4400-A409-E63F77FD58B9}"/>
              </a:ext>
            </a:extLst>
          </p:cNvPr>
          <p:cNvSpPr/>
          <p:nvPr/>
        </p:nvSpPr>
        <p:spPr>
          <a:xfrm>
            <a:off x="571478" y="3517329"/>
            <a:ext cx="472979" cy="472978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0590801-5138-4222-BF1B-BEB132CFF1F4}"/>
              </a:ext>
            </a:extLst>
          </p:cNvPr>
          <p:cNvGrpSpPr/>
          <p:nvPr/>
        </p:nvGrpSpPr>
        <p:grpSpPr>
          <a:xfrm>
            <a:off x="7048509" y="4038323"/>
            <a:ext cx="502372" cy="504439"/>
            <a:chOff x="3125788" y="636588"/>
            <a:chExt cx="771526" cy="774700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1" name="Oval 17">
              <a:extLst>
                <a:ext uri="{FF2B5EF4-FFF2-40B4-BE49-F238E27FC236}">
                  <a16:creationId xmlns:a16="http://schemas.microsoft.com/office/drawing/2014/main" id="{9B7EC4BE-4968-4F6E-83C6-12B1868023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5788" y="636588"/>
              <a:ext cx="771525" cy="774700"/>
            </a:xfrm>
            <a:prstGeom prst="ellipse">
              <a:avLst/>
            </a:prstGeom>
            <a:solidFill>
              <a:srgbClr val="059B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119FDC5C-3558-40BC-8908-04ED00989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5788" y="636588"/>
              <a:ext cx="385763" cy="774700"/>
            </a:xfrm>
            <a:custGeom>
              <a:avLst/>
              <a:gdLst>
                <a:gd name="T0" fmla="*/ 102 w 102"/>
                <a:gd name="T1" fmla="*/ 0 h 205"/>
                <a:gd name="T2" fmla="*/ 0 w 102"/>
                <a:gd name="T3" fmla="*/ 103 h 205"/>
                <a:gd name="T4" fmla="*/ 102 w 102"/>
                <a:gd name="T5" fmla="*/ 205 h 205"/>
                <a:gd name="T6" fmla="*/ 102 w 102"/>
                <a:gd name="T7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2" h="205">
                  <a:moveTo>
                    <a:pt x="102" y="0"/>
                  </a:moveTo>
                  <a:cubicBezTo>
                    <a:pt x="45" y="0"/>
                    <a:pt x="0" y="46"/>
                    <a:pt x="0" y="103"/>
                  </a:cubicBezTo>
                  <a:cubicBezTo>
                    <a:pt x="0" y="159"/>
                    <a:pt x="45" y="205"/>
                    <a:pt x="102" y="205"/>
                  </a:cubicBezTo>
                  <a:lnTo>
                    <a:pt x="102" y="0"/>
                  </a:lnTo>
                  <a:close/>
                </a:path>
              </a:pathLst>
            </a:cu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375EAAD2-8854-4F7A-BC9D-6B5B6D17BF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6901" y="673101"/>
              <a:ext cx="760413" cy="733425"/>
            </a:xfrm>
            <a:custGeom>
              <a:avLst/>
              <a:gdLst>
                <a:gd name="T0" fmla="*/ 117 w 201"/>
                <a:gd name="T1" fmla="*/ 158 h 194"/>
                <a:gd name="T2" fmla="*/ 116 w 201"/>
                <a:gd name="T3" fmla="*/ 149 h 194"/>
                <a:gd name="T4" fmla="*/ 132 w 201"/>
                <a:gd name="T5" fmla="*/ 145 h 194"/>
                <a:gd name="T6" fmla="*/ 117 w 201"/>
                <a:gd name="T7" fmla="*/ 158 h 194"/>
                <a:gd name="T8" fmla="*/ 162 w 201"/>
                <a:gd name="T9" fmla="*/ 125 h 194"/>
                <a:gd name="T10" fmla="*/ 180 w 201"/>
                <a:gd name="T11" fmla="*/ 91 h 194"/>
                <a:gd name="T12" fmla="*/ 180 w 201"/>
                <a:gd name="T13" fmla="*/ 91 h 194"/>
                <a:gd name="T14" fmla="*/ 201 w 201"/>
                <a:gd name="T15" fmla="*/ 91 h 194"/>
                <a:gd name="T16" fmla="*/ 201 w 201"/>
                <a:gd name="T17" fmla="*/ 82 h 194"/>
                <a:gd name="T18" fmla="*/ 183 w 201"/>
                <a:gd name="T19" fmla="*/ 82 h 194"/>
                <a:gd name="T20" fmla="*/ 190 w 201"/>
                <a:gd name="T21" fmla="*/ 45 h 194"/>
                <a:gd name="T22" fmla="*/ 181 w 201"/>
                <a:gd name="T23" fmla="*/ 31 h 194"/>
                <a:gd name="T24" fmla="*/ 173 w 201"/>
                <a:gd name="T25" fmla="*/ 82 h 194"/>
                <a:gd name="T26" fmla="*/ 173 w 201"/>
                <a:gd name="T27" fmla="*/ 82 h 194"/>
                <a:gd name="T28" fmla="*/ 106 w 201"/>
                <a:gd name="T29" fmla="*/ 57 h 194"/>
                <a:gd name="T30" fmla="*/ 76 w 201"/>
                <a:gd name="T31" fmla="*/ 29 h 194"/>
                <a:gd name="T32" fmla="*/ 89 w 201"/>
                <a:gd name="T33" fmla="*/ 30 h 194"/>
                <a:gd name="T34" fmla="*/ 162 w 201"/>
                <a:gd name="T35" fmla="*/ 12 h 194"/>
                <a:gd name="T36" fmla="*/ 153 w 201"/>
                <a:gd name="T37" fmla="*/ 6 h 194"/>
                <a:gd name="T38" fmla="*/ 68 w 201"/>
                <a:gd name="T39" fmla="*/ 19 h 194"/>
                <a:gd name="T40" fmla="*/ 56 w 201"/>
                <a:gd name="T41" fmla="*/ 0 h 194"/>
                <a:gd name="T42" fmla="*/ 47 w 201"/>
                <a:gd name="T43" fmla="*/ 4 h 194"/>
                <a:gd name="T44" fmla="*/ 55 w 201"/>
                <a:gd name="T45" fmla="*/ 16 h 194"/>
                <a:gd name="T46" fmla="*/ 37 w 201"/>
                <a:gd name="T47" fmla="*/ 11 h 194"/>
                <a:gd name="T48" fmla="*/ 29 w 201"/>
                <a:gd name="T49" fmla="*/ 18 h 194"/>
                <a:gd name="T50" fmla="*/ 63 w 201"/>
                <a:gd name="T51" fmla="*/ 28 h 194"/>
                <a:gd name="T52" fmla="*/ 63 w 201"/>
                <a:gd name="T53" fmla="*/ 28 h 194"/>
                <a:gd name="T54" fmla="*/ 101 w 201"/>
                <a:gd name="T55" fmla="*/ 65 h 194"/>
                <a:gd name="T56" fmla="*/ 170 w 201"/>
                <a:gd name="T57" fmla="*/ 90 h 194"/>
                <a:gd name="T58" fmla="*/ 145 w 201"/>
                <a:gd name="T59" fmla="*/ 132 h 194"/>
                <a:gd name="T60" fmla="*/ 114 w 201"/>
                <a:gd name="T61" fmla="*/ 139 h 194"/>
                <a:gd name="T62" fmla="*/ 89 w 201"/>
                <a:gd name="T63" fmla="*/ 93 h 194"/>
                <a:gd name="T64" fmla="*/ 3 w 201"/>
                <a:gd name="T65" fmla="*/ 56 h 194"/>
                <a:gd name="T66" fmla="*/ 0 w 201"/>
                <a:gd name="T67" fmla="*/ 65 h 194"/>
                <a:gd name="T68" fmla="*/ 82 w 201"/>
                <a:gd name="T69" fmla="*/ 100 h 194"/>
                <a:gd name="T70" fmla="*/ 104 w 201"/>
                <a:gd name="T71" fmla="*/ 140 h 194"/>
                <a:gd name="T72" fmla="*/ 46 w 201"/>
                <a:gd name="T73" fmla="*/ 138 h 194"/>
                <a:gd name="T74" fmla="*/ 2 w 201"/>
                <a:gd name="T75" fmla="*/ 126 h 194"/>
                <a:gd name="T76" fmla="*/ 7 w 201"/>
                <a:gd name="T77" fmla="*/ 138 h 194"/>
                <a:gd name="T78" fmla="*/ 44 w 201"/>
                <a:gd name="T79" fmla="*/ 147 h 194"/>
                <a:gd name="T80" fmla="*/ 106 w 201"/>
                <a:gd name="T81" fmla="*/ 150 h 194"/>
                <a:gd name="T82" fmla="*/ 108 w 201"/>
                <a:gd name="T83" fmla="*/ 165 h 194"/>
                <a:gd name="T84" fmla="*/ 66 w 201"/>
                <a:gd name="T85" fmla="*/ 190 h 194"/>
                <a:gd name="T86" fmla="*/ 80 w 201"/>
                <a:gd name="T87" fmla="*/ 193 h 194"/>
                <a:gd name="T88" fmla="*/ 109 w 201"/>
                <a:gd name="T89" fmla="*/ 176 h 194"/>
                <a:gd name="T90" fmla="*/ 109 w 201"/>
                <a:gd name="T91" fmla="*/ 194 h 194"/>
                <a:gd name="T92" fmla="*/ 118 w 201"/>
                <a:gd name="T93" fmla="*/ 193 h 194"/>
                <a:gd name="T94" fmla="*/ 118 w 201"/>
                <a:gd name="T95" fmla="*/ 170 h 194"/>
                <a:gd name="T96" fmla="*/ 150 w 201"/>
                <a:gd name="T97" fmla="*/ 140 h 194"/>
                <a:gd name="T98" fmla="*/ 150 w 201"/>
                <a:gd name="T99" fmla="*/ 140 h 194"/>
                <a:gd name="T100" fmla="*/ 174 w 201"/>
                <a:gd name="T101" fmla="*/ 129 h 194"/>
                <a:gd name="T102" fmla="*/ 199 w 201"/>
                <a:gd name="T103" fmla="*/ 113 h 194"/>
                <a:gd name="T104" fmla="*/ 199 w 201"/>
                <a:gd name="T105" fmla="*/ 113 h 194"/>
                <a:gd name="T106" fmla="*/ 201 w 201"/>
                <a:gd name="T107" fmla="*/ 99 h 194"/>
                <a:gd name="T108" fmla="*/ 170 w 201"/>
                <a:gd name="T109" fmla="*/ 121 h 194"/>
                <a:gd name="T110" fmla="*/ 162 w 201"/>
                <a:gd name="T111" fmla="*/ 12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1" h="194">
                  <a:moveTo>
                    <a:pt x="117" y="158"/>
                  </a:moveTo>
                  <a:cubicBezTo>
                    <a:pt x="117" y="155"/>
                    <a:pt x="116" y="152"/>
                    <a:pt x="116" y="149"/>
                  </a:cubicBezTo>
                  <a:cubicBezTo>
                    <a:pt x="121" y="148"/>
                    <a:pt x="127" y="147"/>
                    <a:pt x="132" y="145"/>
                  </a:cubicBezTo>
                  <a:cubicBezTo>
                    <a:pt x="127" y="150"/>
                    <a:pt x="122" y="154"/>
                    <a:pt x="117" y="158"/>
                  </a:cubicBezTo>
                  <a:close/>
                  <a:moveTo>
                    <a:pt x="162" y="125"/>
                  </a:moveTo>
                  <a:cubicBezTo>
                    <a:pt x="169" y="114"/>
                    <a:pt x="175" y="103"/>
                    <a:pt x="180" y="91"/>
                  </a:cubicBezTo>
                  <a:cubicBezTo>
                    <a:pt x="180" y="91"/>
                    <a:pt x="180" y="91"/>
                    <a:pt x="180" y="91"/>
                  </a:cubicBezTo>
                  <a:cubicBezTo>
                    <a:pt x="187" y="91"/>
                    <a:pt x="194" y="91"/>
                    <a:pt x="201" y="91"/>
                  </a:cubicBezTo>
                  <a:cubicBezTo>
                    <a:pt x="201" y="88"/>
                    <a:pt x="201" y="85"/>
                    <a:pt x="201" y="82"/>
                  </a:cubicBezTo>
                  <a:cubicBezTo>
                    <a:pt x="194" y="82"/>
                    <a:pt x="188" y="82"/>
                    <a:pt x="183" y="82"/>
                  </a:cubicBezTo>
                  <a:cubicBezTo>
                    <a:pt x="186" y="71"/>
                    <a:pt x="189" y="58"/>
                    <a:pt x="190" y="45"/>
                  </a:cubicBezTo>
                  <a:cubicBezTo>
                    <a:pt x="187" y="40"/>
                    <a:pt x="184" y="35"/>
                    <a:pt x="181" y="31"/>
                  </a:cubicBezTo>
                  <a:cubicBezTo>
                    <a:pt x="181" y="47"/>
                    <a:pt x="178" y="65"/>
                    <a:pt x="173" y="82"/>
                  </a:cubicBezTo>
                  <a:cubicBezTo>
                    <a:pt x="173" y="82"/>
                    <a:pt x="173" y="82"/>
                    <a:pt x="173" y="82"/>
                  </a:cubicBezTo>
                  <a:cubicBezTo>
                    <a:pt x="148" y="79"/>
                    <a:pt x="124" y="69"/>
                    <a:pt x="106" y="57"/>
                  </a:cubicBezTo>
                  <a:cubicBezTo>
                    <a:pt x="96" y="49"/>
                    <a:pt x="85" y="40"/>
                    <a:pt x="76" y="29"/>
                  </a:cubicBezTo>
                  <a:cubicBezTo>
                    <a:pt x="81" y="30"/>
                    <a:pt x="85" y="30"/>
                    <a:pt x="89" y="30"/>
                  </a:cubicBezTo>
                  <a:cubicBezTo>
                    <a:pt x="114" y="30"/>
                    <a:pt x="139" y="23"/>
                    <a:pt x="162" y="12"/>
                  </a:cubicBezTo>
                  <a:cubicBezTo>
                    <a:pt x="159" y="9"/>
                    <a:pt x="156" y="7"/>
                    <a:pt x="153" y="6"/>
                  </a:cubicBezTo>
                  <a:cubicBezTo>
                    <a:pt x="127" y="19"/>
                    <a:pt x="98" y="24"/>
                    <a:pt x="68" y="19"/>
                  </a:cubicBezTo>
                  <a:cubicBezTo>
                    <a:pt x="64" y="13"/>
                    <a:pt x="60" y="6"/>
                    <a:pt x="56" y="0"/>
                  </a:cubicBezTo>
                  <a:cubicBezTo>
                    <a:pt x="53" y="1"/>
                    <a:pt x="50" y="3"/>
                    <a:pt x="47" y="4"/>
                  </a:cubicBezTo>
                  <a:cubicBezTo>
                    <a:pt x="49" y="8"/>
                    <a:pt x="52" y="12"/>
                    <a:pt x="55" y="16"/>
                  </a:cubicBezTo>
                  <a:cubicBezTo>
                    <a:pt x="49" y="15"/>
                    <a:pt x="43" y="13"/>
                    <a:pt x="37" y="11"/>
                  </a:cubicBezTo>
                  <a:cubicBezTo>
                    <a:pt x="34" y="13"/>
                    <a:pt x="32" y="15"/>
                    <a:pt x="29" y="18"/>
                  </a:cubicBezTo>
                  <a:cubicBezTo>
                    <a:pt x="40" y="22"/>
                    <a:pt x="51" y="26"/>
                    <a:pt x="63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74" y="42"/>
                    <a:pt x="86" y="54"/>
                    <a:pt x="101" y="65"/>
                  </a:cubicBezTo>
                  <a:cubicBezTo>
                    <a:pt x="118" y="77"/>
                    <a:pt x="144" y="87"/>
                    <a:pt x="170" y="90"/>
                  </a:cubicBezTo>
                  <a:cubicBezTo>
                    <a:pt x="168" y="96"/>
                    <a:pt x="159" y="115"/>
                    <a:pt x="145" y="132"/>
                  </a:cubicBezTo>
                  <a:cubicBezTo>
                    <a:pt x="134" y="135"/>
                    <a:pt x="124" y="138"/>
                    <a:pt x="114" y="139"/>
                  </a:cubicBezTo>
                  <a:cubicBezTo>
                    <a:pt x="109" y="121"/>
                    <a:pt x="100" y="106"/>
                    <a:pt x="89" y="93"/>
                  </a:cubicBezTo>
                  <a:cubicBezTo>
                    <a:pt x="62" y="64"/>
                    <a:pt x="24" y="57"/>
                    <a:pt x="3" y="56"/>
                  </a:cubicBezTo>
                  <a:cubicBezTo>
                    <a:pt x="2" y="59"/>
                    <a:pt x="1" y="62"/>
                    <a:pt x="0" y="65"/>
                  </a:cubicBezTo>
                  <a:cubicBezTo>
                    <a:pt x="19" y="67"/>
                    <a:pt x="56" y="72"/>
                    <a:pt x="82" y="100"/>
                  </a:cubicBezTo>
                  <a:cubicBezTo>
                    <a:pt x="92" y="111"/>
                    <a:pt x="100" y="124"/>
                    <a:pt x="104" y="140"/>
                  </a:cubicBezTo>
                  <a:cubicBezTo>
                    <a:pt x="85" y="142"/>
                    <a:pt x="66" y="141"/>
                    <a:pt x="46" y="138"/>
                  </a:cubicBezTo>
                  <a:cubicBezTo>
                    <a:pt x="38" y="137"/>
                    <a:pt x="21" y="133"/>
                    <a:pt x="2" y="126"/>
                  </a:cubicBezTo>
                  <a:cubicBezTo>
                    <a:pt x="4" y="131"/>
                    <a:pt x="5" y="134"/>
                    <a:pt x="7" y="138"/>
                  </a:cubicBezTo>
                  <a:cubicBezTo>
                    <a:pt x="28" y="144"/>
                    <a:pt x="41" y="147"/>
                    <a:pt x="44" y="147"/>
                  </a:cubicBezTo>
                  <a:cubicBezTo>
                    <a:pt x="65" y="151"/>
                    <a:pt x="86" y="152"/>
                    <a:pt x="106" y="150"/>
                  </a:cubicBezTo>
                  <a:cubicBezTo>
                    <a:pt x="107" y="155"/>
                    <a:pt x="108" y="160"/>
                    <a:pt x="108" y="165"/>
                  </a:cubicBezTo>
                  <a:cubicBezTo>
                    <a:pt x="95" y="174"/>
                    <a:pt x="81" y="183"/>
                    <a:pt x="66" y="190"/>
                  </a:cubicBezTo>
                  <a:cubicBezTo>
                    <a:pt x="71" y="191"/>
                    <a:pt x="75" y="192"/>
                    <a:pt x="80" y="193"/>
                  </a:cubicBezTo>
                  <a:cubicBezTo>
                    <a:pt x="90" y="188"/>
                    <a:pt x="100" y="183"/>
                    <a:pt x="109" y="176"/>
                  </a:cubicBezTo>
                  <a:cubicBezTo>
                    <a:pt x="109" y="182"/>
                    <a:pt x="109" y="188"/>
                    <a:pt x="109" y="194"/>
                  </a:cubicBezTo>
                  <a:cubicBezTo>
                    <a:pt x="112" y="194"/>
                    <a:pt x="115" y="194"/>
                    <a:pt x="118" y="193"/>
                  </a:cubicBezTo>
                  <a:cubicBezTo>
                    <a:pt x="119" y="185"/>
                    <a:pt x="119" y="177"/>
                    <a:pt x="118" y="170"/>
                  </a:cubicBezTo>
                  <a:cubicBezTo>
                    <a:pt x="130" y="161"/>
                    <a:pt x="141" y="151"/>
                    <a:pt x="150" y="140"/>
                  </a:cubicBezTo>
                  <a:cubicBezTo>
                    <a:pt x="150" y="140"/>
                    <a:pt x="150" y="140"/>
                    <a:pt x="150" y="140"/>
                  </a:cubicBezTo>
                  <a:cubicBezTo>
                    <a:pt x="159" y="137"/>
                    <a:pt x="167" y="133"/>
                    <a:pt x="174" y="129"/>
                  </a:cubicBezTo>
                  <a:cubicBezTo>
                    <a:pt x="184" y="124"/>
                    <a:pt x="192" y="119"/>
                    <a:pt x="199" y="113"/>
                  </a:cubicBezTo>
                  <a:cubicBezTo>
                    <a:pt x="199" y="113"/>
                    <a:pt x="199" y="113"/>
                    <a:pt x="199" y="113"/>
                  </a:cubicBezTo>
                  <a:cubicBezTo>
                    <a:pt x="200" y="108"/>
                    <a:pt x="201" y="104"/>
                    <a:pt x="201" y="99"/>
                  </a:cubicBezTo>
                  <a:cubicBezTo>
                    <a:pt x="193" y="107"/>
                    <a:pt x="182" y="114"/>
                    <a:pt x="170" y="121"/>
                  </a:cubicBezTo>
                  <a:cubicBezTo>
                    <a:pt x="167" y="122"/>
                    <a:pt x="165" y="123"/>
                    <a:pt x="162" y="125"/>
                  </a:cubicBez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DC93A7A0-4FEC-403F-B3EC-8E947259B4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38" y="673101"/>
              <a:ext cx="265113" cy="238125"/>
            </a:xfrm>
            <a:custGeom>
              <a:avLst/>
              <a:gdLst>
                <a:gd name="T0" fmla="*/ 70 w 70"/>
                <a:gd name="T1" fmla="*/ 30 h 63"/>
                <a:gd name="T2" fmla="*/ 70 w 70"/>
                <a:gd name="T3" fmla="*/ 21 h 63"/>
                <a:gd name="T4" fmla="*/ 39 w 70"/>
                <a:gd name="T5" fmla="*/ 19 h 63"/>
                <a:gd name="T6" fmla="*/ 27 w 70"/>
                <a:gd name="T7" fmla="*/ 0 h 63"/>
                <a:gd name="T8" fmla="*/ 18 w 70"/>
                <a:gd name="T9" fmla="*/ 4 h 63"/>
                <a:gd name="T10" fmla="*/ 26 w 70"/>
                <a:gd name="T11" fmla="*/ 16 h 63"/>
                <a:gd name="T12" fmla="*/ 8 w 70"/>
                <a:gd name="T13" fmla="*/ 11 h 63"/>
                <a:gd name="T14" fmla="*/ 0 w 70"/>
                <a:gd name="T15" fmla="*/ 18 h 63"/>
                <a:gd name="T16" fmla="*/ 34 w 70"/>
                <a:gd name="T17" fmla="*/ 28 h 63"/>
                <a:gd name="T18" fmla="*/ 34 w 70"/>
                <a:gd name="T19" fmla="*/ 28 h 63"/>
                <a:gd name="T20" fmla="*/ 70 w 70"/>
                <a:gd name="T21" fmla="*/ 63 h 63"/>
                <a:gd name="T22" fmla="*/ 70 w 70"/>
                <a:gd name="T23" fmla="*/ 51 h 63"/>
                <a:gd name="T24" fmla="*/ 48 w 70"/>
                <a:gd name="T25" fmla="*/ 29 h 63"/>
                <a:gd name="T26" fmla="*/ 60 w 70"/>
                <a:gd name="T27" fmla="*/ 30 h 63"/>
                <a:gd name="T28" fmla="*/ 70 w 70"/>
                <a:gd name="T29" fmla="*/ 3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3">
                  <a:moveTo>
                    <a:pt x="70" y="30"/>
                  </a:moveTo>
                  <a:cubicBezTo>
                    <a:pt x="70" y="21"/>
                    <a:pt x="70" y="21"/>
                    <a:pt x="70" y="21"/>
                  </a:cubicBezTo>
                  <a:cubicBezTo>
                    <a:pt x="60" y="21"/>
                    <a:pt x="50" y="21"/>
                    <a:pt x="39" y="19"/>
                  </a:cubicBezTo>
                  <a:cubicBezTo>
                    <a:pt x="35" y="13"/>
                    <a:pt x="31" y="6"/>
                    <a:pt x="27" y="0"/>
                  </a:cubicBezTo>
                  <a:cubicBezTo>
                    <a:pt x="24" y="1"/>
                    <a:pt x="21" y="2"/>
                    <a:pt x="18" y="4"/>
                  </a:cubicBezTo>
                  <a:cubicBezTo>
                    <a:pt x="20" y="8"/>
                    <a:pt x="23" y="12"/>
                    <a:pt x="26" y="16"/>
                  </a:cubicBezTo>
                  <a:cubicBezTo>
                    <a:pt x="20" y="15"/>
                    <a:pt x="14" y="13"/>
                    <a:pt x="8" y="11"/>
                  </a:cubicBezTo>
                  <a:cubicBezTo>
                    <a:pt x="5" y="13"/>
                    <a:pt x="3" y="15"/>
                    <a:pt x="0" y="18"/>
                  </a:cubicBezTo>
                  <a:cubicBezTo>
                    <a:pt x="11" y="22"/>
                    <a:pt x="22" y="26"/>
                    <a:pt x="34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44" y="41"/>
                    <a:pt x="56" y="53"/>
                    <a:pt x="70" y="63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62" y="45"/>
                    <a:pt x="54" y="37"/>
                    <a:pt x="48" y="29"/>
                  </a:cubicBezTo>
                  <a:cubicBezTo>
                    <a:pt x="52" y="30"/>
                    <a:pt x="56" y="30"/>
                    <a:pt x="60" y="30"/>
                  </a:cubicBezTo>
                  <a:cubicBezTo>
                    <a:pt x="63" y="30"/>
                    <a:pt x="67" y="30"/>
                    <a:pt x="70" y="3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Oval 21">
              <a:extLst>
                <a:ext uri="{FF2B5EF4-FFF2-40B4-BE49-F238E27FC236}">
                  <a16:creationId xmlns:a16="http://schemas.microsoft.com/office/drawing/2014/main" id="{5FC2DE4B-24A1-407D-AEE0-48D44C0010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1688" y="722313"/>
              <a:ext cx="71438" cy="730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29CCEC1C-3BAE-4E87-BF8E-4B1DA9AC69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6901" y="782638"/>
              <a:ext cx="374650" cy="563563"/>
            </a:xfrm>
            <a:custGeom>
              <a:avLst/>
              <a:gdLst>
                <a:gd name="T0" fmla="*/ 99 w 99"/>
                <a:gd name="T1" fmla="*/ 97 h 149"/>
                <a:gd name="T2" fmla="*/ 99 w 99"/>
                <a:gd name="T3" fmla="*/ 77 h 149"/>
                <a:gd name="T4" fmla="*/ 89 w 99"/>
                <a:gd name="T5" fmla="*/ 64 h 149"/>
                <a:gd name="T6" fmla="*/ 46 w 99"/>
                <a:gd name="T7" fmla="*/ 36 h 149"/>
                <a:gd name="T8" fmla="*/ 18 w 99"/>
                <a:gd name="T9" fmla="*/ 0 h 149"/>
                <a:gd name="T10" fmla="*/ 13 w 99"/>
                <a:gd name="T11" fmla="*/ 8 h 149"/>
                <a:gd name="T12" fmla="*/ 33 w 99"/>
                <a:gd name="T13" fmla="*/ 32 h 149"/>
                <a:gd name="T14" fmla="*/ 3 w 99"/>
                <a:gd name="T15" fmla="*/ 27 h 149"/>
                <a:gd name="T16" fmla="*/ 0 w 99"/>
                <a:gd name="T17" fmla="*/ 36 h 149"/>
                <a:gd name="T18" fmla="*/ 40 w 99"/>
                <a:gd name="T19" fmla="*/ 44 h 149"/>
                <a:gd name="T20" fmla="*/ 48 w 99"/>
                <a:gd name="T21" fmla="*/ 71 h 149"/>
                <a:gd name="T22" fmla="*/ 46 w 99"/>
                <a:gd name="T23" fmla="*/ 109 h 149"/>
                <a:gd name="T24" fmla="*/ 2 w 99"/>
                <a:gd name="T25" fmla="*/ 98 h 149"/>
                <a:gd name="T26" fmla="*/ 7 w 99"/>
                <a:gd name="T27" fmla="*/ 109 h 149"/>
                <a:gd name="T28" fmla="*/ 44 w 99"/>
                <a:gd name="T29" fmla="*/ 118 h 149"/>
                <a:gd name="T30" fmla="*/ 35 w 99"/>
                <a:gd name="T31" fmla="*/ 144 h 149"/>
                <a:gd name="T32" fmla="*/ 43 w 99"/>
                <a:gd name="T33" fmla="*/ 149 h 149"/>
                <a:gd name="T34" fmla="*/ 54 w 99"/>
                <a:gd name="T35" fmla="*/ 120 h 149"/>
                <a:gd name="T36" fmla="*/ 99 w 99"/>
                <a:gd name="T37" fmla="*/ 121 h 149"/>
                <a:gd name="T38" fmla="*/ 99 w 99"/>
                <a:gd name="T39" fmla="*/ 112 h 149"/>
                <a:gd name="T40" fmla="*/ 56 w 99"/>
                <a:gd name="T41" fmla="*/ 110 h 149"/>
                <a:gd name="T42" fmla="*/ 57 w 99"/>
                <a:gd name="T43" fmla="*/ 76 h 149"/>
                <a:gd name="T44" fmla="*/ 52 w 99"/>
                <a:gd name="T45" fmla="*/ 49 h 149"/>
                <a:gd name="T46" fmla="*/ 82 w 99"/>
                <a:gd name="T47" fmla="*/ 71 h 149"/>
                <a:gd name="T48" fmla="*/ 99 w 99"/>
                <a:gd name="T49" fmla="*/ 9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9" h="149">
                  <a:moveTo>
                    <a:pt x="99" y="97"/>
                  </a:moveTo>
                  <a:cubicBezTo>
                    <a:pt x="99" y="77"/>
                    <a:pt x="99" y="77"/>
                    <a:pt x="99" y="77"/>
                  </a:cubicBezTo>
                  <a:cubicBezTo>
                    <a:pt x="96" y="72"/>
                    <a:pt x="92" y="68"/>
                    <a:pt x="89" y="64"/>
                  </a:cubicBezTo>
                  <a:cubicBezTo>
                    <a:pt x="76" y="50"/>
                    <a:pt x="61" y="42"/>
                    <a:pt x="46" y="36"/>
                  </a:cubicBezTo>
                  <a:cubicBezTo>
                    <a:pt x="39" y="22"/>
                    <a:pt x="29" y="10"/>
                    <a:pt x="18" y="0"/>
                  </a:cubicBezTo>
                  <a:cubicBezTo>
                    <a:pt x="16" y="3"/>
                    <a:pt x="15" y="5"/>
                    <a:pt x="13" y="8"/>
                  </a:cubicBezTo>
                  <a:cubicBezTo>
                    <a:pt x="21" y="15"/>
                    <a:pt x="28" y="23"/>
                    <a:pt x="33" y="32"/>
                  </a:cubicBezTo>
                  <a:cubicBezTo>
                    <a:pt x="22" y="29"/>
                    <a:pt x="11" y="28"/>
                    <a:pt x="3" y="27"/>
                  </a:cubicBezTo>
                  <a:cubicBezTo>
                    <a:pt x="2" y="31"/>
                    <a:pt x="1" y="33"/>
                    <a:pt x="0" y="36"/>
                  </a:cubicBezTo>
                  <a:cubicBezTo>
                    <a:pt x="10" y="37"/>
                    <a:pt x="25" y="39"/>
                    <a:pt x="40" y="44"/>
                  </a:cubicBezTo>
                  <a:cubicBezTo>
                    <a:pt x="44" y="53"/>
                    <a:pt x="46" y="62"/>
                    <a:pt x="48" y="71"/>
                  </a:cubicBezTo>
                  <a:cubicBezTo>
                    <a:pt x="49" y="83"/>
                    <a:pt x="49" y="96"/>
                    <a:pt x="46" y="109"/>
                  </a:cubicBezTo>
                  <a:cubicBezTo>
                    <a:pt x="38" y="108"/>
                    <a:pt x="21" y="104"/>
                    <a:pt x="2" y="98"/>
                  </a:cubicBezTo>
                  <a:cubicBezTo>
                    <a:pt x="4" y="101"/>
                    <a:pt x="5" y="105"/>
                    <a:pt x="7" y="109"/>
                  </a:cubicBezTo>
                  <a:cubicBezTo>
                    <a:pt x="28" y="115"/>
                    <a:pt x="41" y="118"/>
                    <a:pt x="44" y="118"/>
                  </a:cubicBezTo>
                  <a:cubicBezTo>
                    <a:pt x="42" y="127"/>
                    <a:pt x="39" y="136"/>
                    <a:pt x="35" y="144"/>
                  </a:cubicBezTo>
                  <a:cubicBezTo>
                    <a:pt x="38" y="146"/>
                    <a:pt x="41" y="148"/>
                    <a:pt x="43" y="149"/>
                  </a:cubicBezTo>
                  <a:cubicBezTo>
                    <a:pt x="48" y="140"/>
                    <a:pt x="51" y="130"/>
                    <a:pt x="54" y="120"/>
                  </a:cubicBezTo>
                  <a:cubicBezTo>
                    <a:pt x="69" y="122"/>
                    <a:pt x="84" y="122"/>
                    <a:pt x="99" y="121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85" y="113"/>
                    <a:pt x="70" y="112"/>
                    <a:pt x="56" y="110"/>
                  </a:cubicBezTo>
                  <a:cubicBezTo>
                    <a:pt x="58" y="99"/>
                    <a:pt x="59" y="87"/>
                    <a:pt x="57" y="76"/>
                  </a:cubicBezTo>
                  <a:cubicBezTo>
                    <a:pt x="57" y="67"/>
                    <a:pt x="55" y="58"/>
                    <a:pt x="52" y="49"/>
                  </a:cubicBezTo>
                  <a:cubicBezTo>
                    <a:pt x="62" y="54"/>
                    <a:pt x="73" y="61"/>
                    <a:pt x="82" y="71"/>
                  </a:cubicBezTo>
                  <a:cubicBezTo>
                    <a:pt x="89" y="78"/>
                    <a:pt x="95" y="87"/>
                    <a:pt x="99" y="97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23">
              <a:extLst>
                <a:ext uri="{FF2B5EF4-FFF2-40B4-BE49-F238E27FC236}">
                  <a16:creationId xmlns:a16="http://schemas.microsoft.com/office/drawing/2014/main" id="{EEC0C5B1-C0E2-4763-812F-BB716DFE10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1551" y="1181101"/>
              <a:ext cx="71438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Oval 24">
              <a:extLst>
                <a:ext uri="{FF2B5EF4-FFF2-40B4-BE49-F238E27FC236}">
                  <a16:creationId xmlns:a16="http://schemas.microsoft.com/office/drawing/2014/main" id="{673E4C22-81DD-44F5-A1AE-FAD16D8041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0601" y="1274763"/>
              <a:ext cx="71438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Oval 25">
              <a:extLst>
                <a:ext uri="{FF2B5EF4-FFF2-40B4-BE49-F238E27FC236}">
                  <a16:creationId xmlns:a16="http://schemas.microsoft.com/office/drawing/2014/main" id="{B42F2FF5-26FC-4029-AE77-9A0BC9D903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5488" y="904876"/>
              <a:ext cx="73025" cy="714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Oval 26">
              <a:extLst>
                <a:ext uri="{FF2B5EF4-FFF2-40B4-BE49-F238E27FC236}">
                  <a16:creationId xmlns:a16="http://schemas.microsoft.com/office/drawing/2014/main" id="{C9B7A970-E157-4253-ADC8-742BC2A5B9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2476" y="1025526"/>
              <a:ext cx="76200" cy="714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Oval 27">
              <a:extLst>
                <a:ext uri="{FF2B5EF4-FFF2-40B4-BE49-F238E27FC236}">
                  <a16:creationId xmlns:a16="http://schemas.microsoft.com/office/drawing/2014/main" id="{76B04E96-8B4D-425C-801A-794EB412DC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2476" y="1181101"/>
              <a:ext cx="76200" cy="714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28">
              <a:extLst>
                <a:ext uri="{FF2B5EF4-FFF2-40B4-BE49-F238E27FC236}">
                  <a16:creationId xmlns:a16="http://schemas.microsoft.com/office/drawing/2014/main" id="{C742F321-06FC-47E5-AE63-92ED3EF2F3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651" y="722313"/>
              <a:ext cx="71438" cy="73025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Oval 29">
              <a:extLst>
                <a:ext uri="{FF2B5EF4-FFF2-40B4-BE49-F238E27FC236}">
                  <a16:creationId xmlns:a16="http://schemas.microsoft.com/office/drawing/2014/main" id="{2D2FB96E-87D7-439A-B689-0AB245606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5551" y="965201"/>
              <a:ext cx="71438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Oval 30">
              <a:extLst>
                <a:ext uri="{FF2B5EF4-FFF2-40B4-BE49-F238E27FC236}">
                  <a16:creationId xmlns:a16="http://schemas.microsoft.com/office/drawing/2014/main" id="{B1AD5879-D52C-4CC3-A0EE-8952403A83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013" y="1157288"/>
              <a:ext cx="74613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Oval 31">
              <a:extLst>
                <a:ext uri="{FF2B5EF4-FFF2-40B4-BE49-F238E27FC236}">
                  <a16:creationId xmlns:a16="http://schemas.microsoft.com/office/drawing/2014/main" id="{F5FF4F32-86FC-4285-AB93-E40183FE7F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3451" y="855663"/>
              <a:ext cx="76200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1DC0C454-8220-4627-AA3B-796447E44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3451" y="855663"/>
              <a:ext cx="38100" cy="71438"/>
            </a:xfrm>
            <a:custGeom>
              <a:avLst/>
              <a:gdLst>
                <a:gd name="T0" fmla="*/ 0 w 10"/>
                <a:gd name="T1" fmla="*/ 9 h 19"/>
                <a:gd name="T2" fmla="*/ 10 w 10"/>
                <a:gd name="T3" fmla="*/ 19 h 19"/>
                <a:gd name="T4" fmla="*/ 10 w 10"/>
                <a:gd name="T5" fmla="*/ 0 h 19"/>
                <a:gd name="T6" fmla="*/ 0 w 10"/>
                <a:gd name="T7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9">
                  <a:moveTo>
                    <a:pt x="0" y="9"/>
                  </a:moveTo>
                  <a:cubicBezTo>
                    <a:pt x="0" y="15"/>
                    <a:pt x="5" y="19"/>
                    <a:pt x="10" y="19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9" name="Title 1">
            <a:extLst>
              <a:ext uri="{FF2B5EF4-FFF2-40B4-BE49-F238E27FC236}">
                <a16:creationId xmlns:a16="http://schemas.microsoft.com/office/drawing/2014/main" id="{F932CD32-163F-4A64-AD53-875D70DB8ED9}"/>
              </a:ext>
            </a:extLst>
          </p:cNvPr>
          <p:cNvSpPr txBox="1">
            <a:spLocks/>
          </p:cNvSpPr>
          <p:nvPr/>
        </p:nvSpPr>
        <p:spPr>
          <a:xfrm>
            <a:off x="564241" y="2358160"/>
            <a:ext cx="5531759" cy="8066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DOE is powerful. It helps not just individual effects, but how variables interact. </a:t>
            </a: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4483A081-A6F8-4AE1-9C96-F42F23D5E4D0}"/>
              </a:ext>
            </a:extLst>
          </p:cNvPr>
          <p:cNvSpPr txBox="1">
            <a:spLocks/>
          </p:cNvSpPr>
          <p:nvPr/>
        </p:nvSpPr>
        <p:spPr>
          <a:xfrm>
            <a:off x="564242" y="4078635"/>
            <a:ext cx="1750888" cy="17960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The importance of randomization and replication to eliminate bias and noise</a:t>
            </a:r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FC8AA70B-8285-448B-8EB3-F85A97341228}"/>
              </a:ext>
            </a:extLst>
          </p:cNvPr>
          <p:cNvSpPr txBox="1">
            <a:spLocks/>
          </p:cNvSpPr>
          <p:nvPr/>
        </p:nvSpPr>
        <p:spPr>
          <a:xfrm>
            <a:off x="2443843" y="4078635"/>
            <a:ext cx="1750888" cy="17960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9403184E-48E5-467D-A3AB-73EA9E36DBF5}"/>
              </a:ext>
            </a:extLst>
          </p:cNvPr>
          <p:cNvSpPr txBox="1">
            <a:spLocks/>
          </p:cNvSpPr>
          <p:nvPr/>
        </p:nvSpPr>
        <p:spPr>
          <a:xfrm>
            <a:off x="4323443" y="4078635"/>
            <a:ext cx="1750888" cy="17960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Minitab and visualization tools make interpretation and decision-making easier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16B5DB8-9936-4425-903C-3DCAAF1B8DF6}"/>
              </a:ext>
            </a:extLst>
          </p:cNvPr>
          <p:cNvGrpSpPr/>
          <p:nvPr/>
        </p:nvGrpSpPr>
        <p:grpSpPr>
          <a:xfrm>
            <a:off x="2544959" y="3674502"/>
            <a:ext cx="270746" cy="158632"/>
            <a:chOff x="4113213" y="4046538"/>
            <a:chExt cx="360363" cy="211138"/>
          </a:xfrm>
          <a:solidFill>
            <a:schemeClr val="bg1"/>
          </a:solidFill>
        </p:grpSpPr>
        <p:sp>
          <p:nvSpPr>
            <p:cNvPr id="49" name="Freeform 84">
              <a:extLst>
                <a:ext uri="{FF2B5EF4-FFF2-40B4-BE49-F238E27FC236}">
                  <a16:creationId xmlns:a16="http://schemas.microsoft.com/office/drawing/2014/main" id="{978ED4B2-4FC2-4D5C-B6EB-9E5FA64AA6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0213" y="4098925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6 w 28"/>
                <a:gd name="T11" fmla="*/ 12 h 28"/>
                <a:gd name="T12" fmla="*/ 8 w 28"/>
                <a:gd name="T13" fmla="*/ 14 h 28"/>
                <a:gd name="T14" fmla="*/ 14 w 28"/>
                <a:gd name="T15" fmla="*/ 20 h 28"/>
                <a:gd name="T16" fmla="*/ 20 w 28"/>
                <a:gd name="T17" fmla="*/ 14 h 28"/>
                <a:gd name="T18" fmla="*/ 14 w 28"/>
                <a:gd name="T19" fmla="*/ 8 h 28"/>
                <a:gd name="T20" fmla="*/ 12 w 28"/>
                <a:gd name="T21" fmla="*/ 6 h 28"/>
                <a:gd name="T22" fmla="*/ 14 w 28"/>
                <a:gd name="T23" fmla="*/ 4 h 28"/>
                <a:gd name="T24" fmla="*/ 24 w 28"/>
                <a:gd name="T25" fmla="*/ 14 h 28"/>
                <a:gd name="T26" fmla="*/ 14 w 28"/>
                <a:gd name="T27" fmla="*/ 24 h 28"/>
                <a:gd name="T28" fmla="*/ 4 w 28"/>
                <a:gd name="T29" fmla="*/ 14 h 28"/>
                <a:gd name="T30" fmla="*/ 6 w 28"/>
                <a:gd name="T3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6" y="12"/>
                  </a:moveTo>
                  <a:cubicBezTo>
                    <a:pt x="7" y="12"/>
                    <a:pt x="8" y="13"/>
                    <a:pt x="8" y="14"/>
                  </a:cubicBezTo>
                  <a:cubicBezTo>
                    <a:pt x="8" y="17"/>
                    <a:pt x="11" y="20"/>
                    <a:pt x="14" y="20"/>
                  </a:cubicBezTo>
                  <a:cubicBezTo>
                    <a:pt x="17" y="20"/>
                    <a:pt x="20" y="17"/>
                    <a:pt x="20" y="14"/>
                  </a:cubicBezTo>
                  <a:cubicBezTo>
                    <a:pt x="20" y="11"/>
                    <a:pt x="17" y="8"/>
                    <a:pt x="14" y="8"/>
                  </a:cubicBezTo>
                  <a:cubicBezTo>
                    <a:pt x="13" y="8"/>
                    <a:pt x="12" y="7"/>
                    <a:pt x="12" y="6"/>
                  </a:cubicBezTo>
                  <a:cubicBezTo>
                    <a:pt x="12" y="5"/>
                    <a:pt x="13" y="4"/>
                    <a:pt x="14" y="4"/>
                  </a:cubicBezTo>
                  <a:cubicBezTo>
                    <a:pt x="20" y="4"/>
                    <a:pt x="24" y="8"/>
                    <a:pt x="24" y="14"/>
                  </a:cubicBezTo>
                  <a:cubicBezTo>
                    <a:pt x="24" y="20"/>
                    <a:pt x="20" y="24"/>
                    <a:pt x="14" y="24"/>
                  </a:cubicBezTo>
                  <a:cubicBezTo>
                    <a:pt x="8" y="24"/>
                    <a:pt x="4" y="20"/>
                    <a:pt x="4" y="14"/>
                  </a:cubicBezTo>
                  <a:cubicBezTo>
                    <a:pt x="4" y="13"/>
                    <a:pt x="5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Freeform 85">
              <a:extLst>
                <a:ext uri="{FF2B5EF4-FFF2-40B4-BE49-F238E27FC236}">
                  <a16:creationId xmlns:a16="http://schemas.microsoft.com/office/drawing/2014/main" id="{9D03681D-C6C0-4DE4-8800-06242BBA7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4046538"/>
              <a:ext cx="360363" cy="211138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6FA531F-A02E-4502-AFBB-DFA4B40728F4}"/>
              </a:ext>
            </a:extLst>
          </p:cNvPr>
          <p:cNvGrpSpPr/>
          <p:nvPr/>
        </p:nvGrpSpPr>
        <p:grpSpPr>
          <a:xfrm>
            <a:off x="4436866" y="3639426"/>
            <a:ext cx="246133" cy="228785"/>
            <a:chOff x="6276975" y="3981450"/>
            <a:chExt cx="360363" cy="334963"/>
          </a:xfrm>
          <a:solidFill>
            <a:schemeClr val="bg1"/>
          </a:solidFill>
        </p:grpSpPr>
        <p:sp>
          <p:nvSpPr>
            <p:cNvPr id="52" name="Freeform 98">
              <a:extLst>
                <a:ext uri="{FF2B5EF4-FFF2-40B4-BE49-F238E27FC236}">
                  <a16:creationId xmlns:a16="http://schemas.microsoft.com/office/drawing/2014/main" id="{8F013092-CF82-4477-B9CA-475096DDA8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2238" y="3981450"/>
              <a:ext cx="165100" cy="334963"/>
            </a:xfrm>
            <a:custGeom>
              <a:avLst/>
              <a:gdLst>
                <a:gd name="T0" fmla="*/ 14 w 44"/>
                <a:gd name="T1" fmla="*/ 37 h 89"/>
                <a:gd name="T2" fmla="*/ 12 w 44"/>
                <a:gd name="T3" fmla="*/ 39 h 89"/>
                <a:gd name="T4" fmla="*/ 10 w 44"/>
                <a:gd name="T5" fmla="*/ 37 h 89"/>
                <a:gd name="T6" fmla="*/ 0 w 44"/>
                <a:gd name="T7" fmla="*/ 31 h 89"/>
                <a:gd name="T8" fmla="*/ 0 w 44"/>
                <a:gd name="T9" fmla="*/ 67 h 89"/>
                <a:gd name="T10" fmla="*/ 22 w 44"/>
                <a:gd name="T11" fmla="*/ 89 h 89"/>
                <a:gd name="T12" fmla="*/ 44 w 44"/>
                <a:gd name="T13" fmla="*/ 67 h 89"/>
                <a:gd name="T14" fmla="*/ 40 w 44"/>
                <a:gd name="T15" fmla="*/ 54 h 89"/>
                <a:gd name="T16" fmla="*/ 28 w 44"/>
                <a:gd name="T17" fmla="*/ 26 h 89"/>
                <a:gd name="T18" fmla="*/ 27 w 44"/>
                <a:gd name="T19" fmla="*/ 26 h 89"/>
                <a:gd name="T20" fmla="*/ 22 w 44"/>
                <a:gd name="T21" fmla="*/ 20 h 89"/>
                <a:gd name="T22" fmla="*/ 16 w 44"/>
                <a:gd name="T23" fmla="*/ 5 h 89"/>
                <a:gd name="T24" fmla="*/ 15 w 44"/>
                <a:gd name="T25" fmla="*/ 4 h 89"/>
                <a:gd name="T26" fmla="*/ 1 w 44"/>
                <a:gd name="T27" fmla="*/ 4 h 89"/>
                <a:gd name="T28" fmla="*/ 0 w 44"/>
                <a:gd name="T29" fmla="*/ 5 h 89"/>
                <a:gd name="T30" fmla="*/ 0 w 44"/>
                <a:gd name="T31" fmla="*/ 27 h 89"/>
                <a:gd name="T32" fmla="*/ 14 w 44"/>
                <a:gd name="T33" fmla="*/ 3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14" y="37"/>
                  </a:moveTo>
                  <a:cubicBezTo>
                    <a:pt x="14" y="38"/>
                    <a:pt x="13" y="39"/>
                    <a:pt x="12" y="39"/>
                  </a:cubicBezTo>
                  <a:cubicBezTo>
                    <a:pt x="11" y="39"/>
                    <a:pt x="10" y="38"/>
                    <a:pt x="10" y="37"/>
                  </a:cubicBezTo>
                  <a:cubicBezTo>
                    <a:pt x="10" y="35"/>
                    <a:pt x="6" y="32"/>
                    <a:pt x="0" y="31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62"/>
                    <a:pt x="42" y="58"/>
                    <a:pt x="40" y="54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8" y="26"/>
                    <a:pt x="27" y="26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4"/>
                    <a:pt x="16" y="4"/>
                    <a:pt x="15" y="4"/>
                  </a:cubicBezTo>
                  <a:cubicBezTo>
                    <a:pt x="12" y="0"/>
                    <a:pt x="4" y="0"/>
                    <a:pt x="1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8" y="28"/>
                    <a:pt x="14" y="32"/>
                    <a:pt x="14" y="3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99">
              <a:extLst>
                <a:ext uri="{FF2B5EF4-FFF2-40B4-BE49-F238E27FC236}">
                  <a16:creationId xmlns:a16="http://schemas.microsoft.com/office/drawing/2014/main" id="{D4074923-4236-4EF3-B21E-40B4A6DF2A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6975" y="3981450"/>
              <a:ext cx="165100" cy="334963"/>
            </a:xfrm>
            <a:custGeom>
              <a:avLst/>
              <a:gdLst>
                <a:gd name="T0" fmla="*/ 0 w 44"/>
                <a:gd name="T1" fmla="*/ 67 h 89"/>
                <a:gd name="T2" fmla="*/ 22 w 44"/>
                <a:gd name="T3" fmla="*/ 89 h 89"/>
                <a:gd name="T4" fmla="*/ 44 w 44"/>
                <a:gd name="T5" fmla="*/ 67 h 89"/>
                <a:gd name="T6" fmla="*/ 44 w 44"/>
                <a:gd name="T7" fmla="*/ 31 h 89"/>
                <a:gd name="T8" fmla="*/ 34 w 44"/>
                <a:gd name="T9" fmla="*/ 37 h 89"/>
                <a:gd name="T10" fmla="*/ 32 w 44"/>
                <a:gd name="T11" fmla="*/ 39 h 89"/>
                <a:gd name="T12" fmla="*/ 30 w 44"/>
                <a:gd name="T13" fmla="*/ 37 h 89"/>
                <a:gd name="T14" fmla="*/ 44 w 44"/>
                <a:gd name="T15" fmla="*/ 27 h 89"/>
                <a:gd name="T16" fmla="*/ 44 w 44"/>
                <a:gd name="T17" fmla="*/ 5 h 89"/>
                <a:gd name="T18" fmla="*/ 43 w 44"/>
                <a:gd name="T19" fmla="*/ 4 h 89"/>
                <a:gd name="T20" fmla="*/ 29 w 44"/>
                <a:gd name="T21" fmla="*/ 4 h 89"/>
                <a:gd name="T22" fmla="*/ 28 w 44"/>
                <a:gd name="T23" fmla="*/ 4 h 89"/>
                <a:gd name="T24" fmla="*/ 22 w 44"/>
                <a:gd name="T25" fmla="*/ 20 h 89"/>
                <a:gd name="T26" fmla="*/ 17 w 44"/>
                <a:gd name="T27" fmla="*/ 26 h 89"/>
                <a:gd name="T28" fmla="*/ 16 w 44"/>
                <a:gd name="T29" fmla="*/ 26 h 89"/>
                <a:gd name="T30" fmla="*/ 4 w 44"/>
                <a:gd name="T31" fmla="*/ 54 h 89"/>
                <a:gd name="T32" fmla="*/ 0 w 44"/>
                <a:gd name="T33" fmla="*/ 6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0" y="67"/>
                  </a:move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38" y="32"/>
                    <a:pt x="34" y="35"/>
                    <a:pt x="34" y="37"/>
                  </a:cubicBezTo>
                  <a:cubicBezTo>
                    <a:pt x="34" y="38"/>
                    <a:pt x="33" y="39"/>
                    <a:pt x="32" y="39"/>
                  </a:cubicBezTo>
                  <a:cubicBezTo>
                    <a:pt x="31" y="39"/>
                    <a:pt x="30" y="38"/>
                    <a:pt x="30" y="37"/>
                  </a:cubicBezTo>
                  <a:cubicBezTo>
                    <a:pt x="30" y="32"/>
                    <a:pt x="36" y="28"/>
                    <a:pt x="44" y="27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0" y="0"/>
                    <a:pt x="32" y="0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2" y="58"/>
                    <a:pt x="0" y="62"/>
                    <a:pt x="0" y="6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00">
              <a:extLst>
                <a:ext uri="{FF2B5EF4-FFF2-40B4-BE49-F238E27FC236}">
                  <a16:creationId xmlns:a16="http://schemas.microsoft.com/office/drawing/2014/main" id="{CB4DB4FE-2D19-444B-87BB-D0EBADDFF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138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Freeform 101">
              <a:extLst>
                <a:ext uri="{FF2B5EF4-FFF2-40B4-BE49-F238E27FC236}">
                  <a16:creationId xmlns:a16="http://schemas.microsoft.com/office/drawing/2014/main" id="{6614D902-D818-489E-B644-7E70A16EE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400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6" name="Freeform 69">
            <a:extLst>
              <a:ext uri="{FF2B5EF4-FFF2-40B4-BE49-F238E27FC236}">
                <a16:creationId xmlns:a16="http://schemas.microsoft.com/office/drawing/2014/main" id="{654AA7FF-CD1E-4B83-AA38-2D6E42996A55}"/>
              </a:ext>
            </a:extLst>
          </p:cNvPr>
          <p:cNvSpPr>
            <a:spLocks noEditPoints="1"/>
          </p:cNvSpPr>
          <p:nvPr/>
        </p:nvSpPr>
        <p:spPr bwMode="auto">
          <a:xfrm>
            <a:off x="683816" y="3629126"/>
            <a:ext cx="248302" cy="249385"/>
          </a:xfrm>
          <a:custGeom>
            <a:avLst/>
            <a:gdLst>
              <a:gd name="T0" fmla="*/ 83 w 97"/>
              <a:gd name="T1" fmla="*/ 41 h 97"/>
              <a:gd name="T2" fmla="*/ 79 w 97"/>
              <a:gd name="T3" fmla="*/ 31 h 97"/>
              <a:gd name="T4" fmla="*/ 94 w 97"/>
              <a:gd name="T5" fmla="*/ 2 h 97"/>
              <a:gd name="T6" fmla="*/ 71 w 97"/>
              <a:gd name="T7" fmla="*/ 21 h 97"/>
              <a:gd name="T8" fmla="*/ 56 w 97"/>
              <a:gd name="T9" fmla="*/ 14 h 97"/>
              <a:gd name="T10" fmla="*/ 54 w 97"/>
              <a:gd name="T11" fmla="*/ 1 h 97"/>
              <a:gd name="T12" fmla="*/ 40 w 97"/>
              <a:gd name="T13" fmla="*/ 3 h 97"/>
              <a:gd name="T14" fmla="*/ 31 w 97"/>
              <a:gd name="T15" fmla="*/ 18 h 97"/>
              <a:gd name="T16" fmla="*/ 20 w 97"/>
              <a:gd name="T17" fmla="*/ 9 h 97"/>
              <a:gd name="T18" fmla="*/ 8 w 97"/>
              <a:gd name="T19" fmla="*/ 22 h 97"/>
              <a:gd name="T20" fmla="*/ 17 w 97"/>
              <a:gd name="T21" fmla="*/ 32 h 97"/>
              <a:gd name="T22" fmla="*/ 2 w 97"/>
              <a:gd name="T23" fmla="*/ 41 h 97"/>
              <a:gd name="T24" fmla="*/ 0 w 97"/>
              <a:gd name="T25" fmla="*/ 55 h 97"/>
              <a:gd name="T26" fmla="*/ 13 w 97"/>
              <a:gd name="T27" fmla="*/ 57 h 97"/>
              <a:gd name="T28" fmla="*/ 8 w 97"/>
              <a:gd name="T29" fmla="*/ 74 h 97"/>
              <a:gd name="T30" fmla="*/ 8 w 97"/>
              <a:gd name="T31" fmla="*/ 77 h 97"/>
              <a:gd name="T32" fmla="*/ 23 w 97"/>
              <a:gd name="T33" fmla="*/ 89 h 97"/>
              <a:gd name="T34" fmla="*/ 40 w 97"/>
              <a:gd name="T35" fmla="*/ 84 h 97"/>
              <a:gd name="T36" fmla="*/ 42 w 97"/>
              <a:gd name="T37" fmla="*/ 97 h 97"/>
              <a:gd name="T38" fmla="*/ 56 w 97"/>
              <a:gd name="T39" fmla="*/ 95 h 97"/>
              <a:gd name="T40" fmla="*/ 65 w 97"/>
              <a:gd name="T41" fmla="*/ 80 h 97"/>
              <a:gd name="T42" fmla="*/ 76 w 97"/>
              <a:gd name="T43" fmla="*/ 89 h 97"/>
              <a:gd name="T44" fmla="*/ 88 w 97"/>
              <a:gd name="T45" fmla="*/ 74 h 97"/>
              <a:gd name="T46" fmla="*/ 83 w 97"/>
              <a:gd name="T47" fmla="*/ 57 h 97"/>
              <a:gd name="T48" fmla="*/ 96 w 97"/>
              <a:gd name="T49" fmla="*/ 55 h 97"/>
              <a:gd name="T50" fmla="*/ 94 w 97"/>
              <a:gd name="T51" fmla="*/ 41 h 97"/>
              <a:gd name="T52" fmla="*/ 49 w 97"/>
              <a:gd name="T53" fmla="*/ 60 h 97"/>
              <a:gd name="T54" fmla="*/ 48 w 97"/>
              <a:gd name="T55" fmla="*/ 60 h 97"/>
              <a:gd name="T56" fmla="*/ 30 w 97"/>
              <a:gd name="T57" fmla="*/ 39 h 97"/>
              <a:gd name="T58" fmla="*/ 49 w 97"/>
              <a:gd name="T59" fmla="*/ 56 h 97"/>
              <a:gd name="T60" fmla="*/ 91 w 97"/>
              <a:gd name="T61" fmla="*/ 5 h 97"/>
              <a:gd name="T62" fmla="*/ 51 w 97"/>
              <a:gd name="T63" fmla="*/ 6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7" h="97">
                <a:moveTo>
                  <a:pt x="94" y="41"/>
                </a:moveTo>
                <a:cubicBezTo>
                  <a:pt x="83" y="41"/>
                  <a:pt x="83" y="41"/>
                  <a:pt x="83" y="41"/>
                </a:cubicBezTo>
                <a:cubicBezTo>
                  <a:pt x="82" y="39"/>
                  <a:pt x="82" y="37"/>
                  <a:pt x="81" y="35"/>
                </a:cubicBezTo>
                <a:cubicBezTo>
                  <a:pt x="80" y="34"/>
                  <a:pt x="79" y="32"/>
                  <a:pt x="79" y="31"/>
                </a:cubicBezTo>
                <a:cubicBezTo>
                  <a:pt x="95" y="11"/>
                  <a:pt x="95" y="11"/>
                  <a:pt x="95" y="11"/>
                </a:cubicBezTo>
                <a:cubicBezTo>
                  <a:pt x="97" y="8"/>
                  <a:pt x="96" y="4"/>
                  <a:pt x="94" y="2"/>
                </a:cubicBezTo>
                <a:cubicBezTo>
                  <a:pt x="91" y="0"/>
                  <a:pt x="87" y="1"/>
                  <a:pt x="85" y="3"/>
                </a:cubicBezTo>
                <a:cubicBezTo>
                  <a:pt x="71" y="21"/>
                  <a:pt x="71" y="21"/>
                  <a:pt x="71" y="21"/>
                </a:cubicBezTo>
                <a:cubicBezTo>
                  <a:pt x="70" y="20"/>
                  <a:pt x="68" y="19"/>
                  <a:pt x="67" y="18"/>
                </a:cubicBezTo>
                <a:cubicBezTo>
                  <a:pt x="64" y="17"/>
                  <a:pt x="60" y="15"/>
                  <a:pt x="56" y="1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2"/>
                  <a:pt x="55" y="1"/>
                  <a:pt x="54" y="1"/>
                </a:cubicBezTo>
                <a:cubicBezTo>
                  <a:pt x="42" y="1"/>
                  <a:pt x="42" y="1"/>
                  <a:pt x="42" y="1"/>
                </a:cubicBezTo>
                <a:cubicBezTo>
                  <a:pt x="41" y="1"/>
                  <a:pt x="40" y="2"/>
                  <a:pt x="40" y="3"/>
                </a:cubicBezTo>
                <a:cubicBezTo>
                  <a:pt x="40" y="14"/>
                  <a:pt x="40" y="14"/>
                  <a:pt x="40" y="14"/>
                </a:cubicBezTo>
                <a:cubicBezTo>
                  <a:pt x="37" y="15"/>
                  <a:pt x="33" y="16"/>
                  <a:pt x="31" y="18"/>
                </a:cubicBezTo>
                <a:cubicBezTo>
                  <a:pt x="23" y="9"/>
                  <a:pt x="23" y="9"/>
                  <a:pt x="23" y="9"/>
                </a:cubicBezTo>
                <a:cubicBezTo>
                  <a:pt x="22" y="9"/>
                  <a:pt x="20" y="9"/>
                  <a:pt x="20" y="9"/>
                </a:cubicBezTo>
                <a:cubicBezTo>
                  <a:pt x="8" y="21"/>
                  <a:pt x="8" y="21"/>
                  <a:pt x="8" y="21"/>
                </a:cubicBezTo>
                <a:cubicBezTo>
                  <a:pt x="8" y="21"/>
                  <a:pt x="8" y="22"/>
                  <a:pt x="8" y="22"/>
                </a:cubicBezTo>
                <a:cubicBezTo>
                  <a:pt x="8" y="23"/>
                  <a:pt x="8" y="23"/>
                  <a:pt x="8" y="24"/>
                </a:cubicBezTo>
                <a:cubicBezTo>
                  <a:pt x="17" y="32"/>
                  <a:pt x="17" y="32"/>
                  <a:pt x="17" y="32"/>
                </a:cubicBezTo>
                <a:cubicBezTo>
                  <a:pt x="15" y="34"/>
                  <a:pt x="14" y="38"/>
                  <a:pt x="13" y="41"/>
                </a:cubicBezTo>
                <a:cubicBezTo>
                  <a:pt x="2" y="41"/>
                  <a:pt x="2" y="41"/>
                  <a:pt x="2" y="41"/>
                </a:cubicBezTo>
                <a:cubicBezTo>
                  <a:pt x="1" y="41"/>
                  <a:pt x="0" y="42"/>
                  <a:pt x="0" y="43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6"/>
                  <a:pt x="1" y="57"/>
                  <a:pt x="2" y="57"/>
                </a:cubicBezTo>
                <a:cubicBezTo>
                  <a:pt x="13" y="57"/>
                  <a:pt x="13" y="57"/>
                  <a:pt x="13" y="57"/>
                </a:cubicBezTo>
                <a:cubicBezTo>
                  <a:pt x="14" y="60"/>
                  <a:pt x="15" y="64"/>
                  <a:pt x="17" y="66"/>
                </a:cubicBezTo>
                <a:cubicBezTo>
                  <a:pt x="8" y="74"/>
                  <a:pt x="8" y="74"/>
                  <a:pt x="8" y="74"/>
                </a:cubicBezTo>
                <a:cubicBezTo>
                  <a:pt x="8" y="75"/>
                  <a:pt x="8" y="75"/>
                  <a:pt x="8" y="76"/>
                </a:cubicBezTo>
                <a:cubicBezTo>
                  <a:pt x="8" y="76"/>
                  <a:pt x="8" y="77"/>
                  <a:pt x="8" y="77"/>
                </a:cubicBezTo>
                <a:cubicBezTo>
                  <a:pt x="20" y="89"/>
                  <a:pt x="20" y="89"/>
                  <a:pt x="20" y="89"/>
                </a:cubicBezTo>
                <a:cubicBezTo>
                  <a:pt x="20" y="89"/>
                  <a:pt x="22" y="89"/>
                  <a:pt x="23" y="89"/>
                </a:cubicBezTo>
                <a:cubicBezTo>
                  <a:pt x="31" y="80"/>
                  <a:pt x="31" y="80"/>
                  <a:pt x="31" y="80"/>
                </a:cubicBezTo>
                <a:cubicBezTo>
                  <a:pt x="33" y="82"/>
                  <a:pt x="37" y="83"/>
                  <a:pt x="40" y="84"/>
                </a:cubicBezTo>
                <a:cubicBezTo>
                  <a:pt x="40" y="95"/>
                  <a:pt x="40" y="95"/>
                  <a:pt x="40" y="95"/>
                </a:cubicBezTo>
                <a:cubicBezTo>
                  <a:pt x="40" y="96"/>
                  <a:pt x="41" y="97"/>
                  <a:pt x="42" y="97"/>
                </a:cubicBezTo>
                <a:cubicBezTo>
                  <a:pt x="54" y="97"/>
                  <a:pt x="54" y="97"/>
                  <a:pt x="54" y="97"/>
                </a:cubicBezTo>
                <a:cubicBezTo>
                  <a:pt x="55" y="97"/>
                  <a:pt x="56" y="96"/>
                  <a:pt x="56" y="95"/>
                </a:cubicBezTo>
                <a:cubicBezTo>
                  <a:pt x="56" y="84"/>
                  <a:pt x="56" y="84"/>
                  <a:pt x="56" y="84"/>
                </a:cubicBezTo>
                <a:cubicBezTo>
                  <a:pt x="59" y="83"/>
                  <a:pt x="63" y="82"/>
                  <a:pt x="65" y="80"/>
                </a:cubicBezTo>
                <a:cubicBezTo>
                  <a:pt x="73" y="89"/>
                  <a:pt x="73" y="89"/>
                  <a:pt x="73" y="89"/>
                </a:cubicBezTo>
                <a:cubicBezTo>
                  <a:pt x="74" y="89"/>
                  <a:pt x="76" y="89"/>
                  <a:pt x="76" y="89"/>
                </a:cubicBezTo>
                <a:cubicBezTo>
                  <a:pt x="88" y="77"/>
                  <a:pt x="88" y="77"/>
                  <a:pt x="88" y="77"/>
                </a:cubicBezTo>
                <a:cubicBezTo>
                  <a:pt x="88" y="77"/>
                  <a:pt x="88" y="75"/>
                  <a:pt x="88" y="74"/>
                </a:cubicBezTo>
                <a:cubicBezTo>
                  <a:pt x="79" y="66"/>
                  <a:pt x="79" y="66"/>
                  <a:pt x="79" y="66"/>
                </a:cubicBezTo>
                <a:cubicBezTo>
                  <a:pt x="81" y="64"/>
                  <a:pt x="82" y="60"/>
                  <a:pt x="83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5" y="57"/>
                  <a:pt x="96" y="56"/>
                  <a:pt x="96" y="55"/>
                </a:cubicBezTo>
                <a:cubicBezTo>
                  <a:pt x="96" y="43"/>
                  <a:pt x="96" y="43"/>
                  <a:pt x="96" y="43"/>
                </a:cubicBezTo>
                <a:cubicBezTo>
                  <a:pt x="96" y="42"/>
                  <a:pt x="95" y="41"/>
                  <a:pt x="94" y="41"/>
                </a:cubicBezTo>
                <a:close/>
                <a:moveTo>
                  <a:pt x="51" y="60"/>
                </a:moveTo>
                <a:cubicBezTo>
                  <a:pt x="50" y="60"/>
                  <a:pt x="50" y="60"/>
                  <a:pt x="49" y="60"/>
                </a:cubicBezTo>
                <a:cubicBezTo>
                  <a:pt x="49" y="61"/>
                  <a:pt x="49" y="61"/>
                  <a:pt x="49" y="61"/>
                </a:cubicBezTo>
                <a:cubicBezTo>
                  <a:pt x="49" y="61"/>
                  <a:pt x="48" y="60"/>
                  <a:pt x="48" y="60"/>
                </a:cubicBezTo>
                <a:cubicBezTo>
                  <a:pt x="30" y="42"/>
                  <a:pt x="30" y="42"/>
                  <a:pt x="30" y="42"/>
                </a:cubicBezTo>
                <a:cubicBezTo>
                  <a:pt x="29" y="41"/>
                  <a:pt x="29" y="40"/>
                  <a:pt x="30" y="39"/>
                </a:cubicBezTo>
                <a:cubicBezTo>
                  <a:pt x="31" y="38"/>
                  <a:pt x="32" y="38"/>
                  <a:pt x="33" y="39"/>
                </a:cubicBezTo>
                <a:cubicBezTo>
                  <a:pt x="49" y="56"/>
                  <a:pt x="49" y="56"/>
                  <a:pt x="49" y="56"/>
                </a:cubicBezTo>
                <a:cubicBezTo>
                  <a:pt x="88" y="6"/>
                  <a:pt x="88" y="6"/>
                  <a:pt x="88" y="6"/>
                </a:cubicBezTo>
                <a:cubicBezTo>
                  <a:pt x="89" y="5"/>
                  <a:pt x="90" y="5"/>
                  <a:pt x="91" y="5"/>
                </a:cubicBezTo>
                <a:cubicBezTo>
                  <a:pt x="92" y="6"/>
                  <a:pt x="92" y="7"/>
                  <a:pt x="92" y="8"/>
                </a:cubicBezTo>
                <a:lnTo>
                  <a:pt x="51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F4FFC93-7895-41FC-9681-9AD0A206D726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FBF2C23D-565C-4AF6-8B29-7739839C6A71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Slide Number Placeholder 5">
            <a:extLst>
              <a:ext uri="{FF2B5EF4-FFF2-40B4-BE49-F238E27FC236}">
                <a16:creationId xmlns:a16="http://schemas.microsoft.com/office/drawing/2014/main" id="{7E2CF59C-53C5-46F1-BC29-BECC19F9DD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15</a:t>
            </a:fld>
            <a:endParaRPr lang="en-US" dirty="0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B18CDFF8-65C0-4708-B05B-E73706D4733F}"/>
              </a:ext>
            </a:extLst>
          </p:cNvPr>
          <p:cNvCxnSpPr>
            <a:cxnSpLocks/>
          </p:cNvCxnSpPr>
          <p:nvPr/>
        </p:nvCxnSpPr>
        <p:spPr>
          <a:xfrm>
            <a:off x="1085850" y="3943350"/>
            <a:ext cx="12001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DD17D4A9-63F0-4267-A1A2-67470F129A39}"/>
              </a:ext>
            </a:extLst>
          </p:cNvPr>
          <p:cNvCxnSpPr>
            <a:cxnSpLocks/>
          </p:cNvCxnSpPr>
          <p:nvPr/>
        </p:nvCxnSpPr>
        <p:spPr>
          <a:xfrm>
            <a:off x="2927350" y="3943350"/>
            <a:ext cx="12001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78AAE6B3-9AA9-4348-B86A-DA356D3A60AF}"/>
              </a:ext>
            </a:extLst>
          </p:cNvPr>
          <p:cNvCxnSpPr>
            <a:cxnSpLocks/>
          </p:cNvCxnSpPr>
          <p:nvPr/>
        </p:nvCxnSpPr>
        <p:spPr>
          <a:xfrm>
            <a:off x="4876800" y="3943350"/>
            <a:ext cx="12001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CA4F2B82-4A09-74DA-E57C-E57C75304E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71018" y="2622386"/>
            <a:ext cx="3243817" cy="141917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C3EACD5-5CCB-72D5-0D5C-01221A1A8B0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8670" y="143742"/>
            <a:ext cx="5448300" cy="14478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55E1F37-9311-E429-BC18-A0996F97EA35}"/>
              </a:ext>
            </a:extLst>
          </p:cNvPr>
          <p:cNvSpPr txBox="1"/>
          <p:nvPr/>
        </p:nvSpPr>
        <p:spPr>
          <a:xfrm>
            <a:off x="2462948" y="4141692"/>
            <a:ext cx="144796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Validate models using ANOVA, residual analysis &amp; regression</a:t>
            </a:r>
          </a:p>
        </p:txBody>
      </p:sp>
    </p:spTree>
    <p:extLst>
      <p:ext uri="{BB962C8B-B14F-4D97-AF65-F5344CB8AC3E}">
        <p14:creationId xmlns:p14="http://schemas.microsoft.com/office/powerpoint/2010/main" val="22875697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E073D2-D02C-4602-90E7-2FBE431ADC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5523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8060660A-6B0A-4BA5-A208-6ABE04653E2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52D550C5-104A-46CC-A78A-83AC850E66D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19200" y="0"/>
              <a:ext cx="10972800" cy="6858000"/>
            </a:xfrm>
            <a:prstGeom prst="rect">
              <a:avLst/>
            </a:prstGeom>
          </p:spPr>
        </p:pic>
        <p:pic>
          <p:nvPicPr>
            <p:cNvPr id="12" name="Picture 11" descr="Background pattern&#10;&#10;Description automatically generated">
              <a:extLst>
                <a:ext uri="{FF2B5EF4-FFF2-40B4-BE49-F238E27FC236}">
                  <a16:creationId xmlns:a16="http://schemas.microsoft.com/office/drawing/2014/main" id="{C93B74CC-5054-45E4-9F4A-5DC124D979A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0972800" cy="6858000"/>
            </a:xfrm>
            <a:prstGeom prst="rect">
              <a:avLst/>
            </a:prstGeom>
          </p:spPr>
        </p:pic>
      </p:grpSp>
      <p:sp>
        <p:nvSpPr>
          <p:cNvPr id="23" name="Rectángulo 6175">
            <a:extLst>
              <a:ext uri="{FF2B5EF4-FFF2-40B4-BE49-F238E27FC236}">
                <a16:creationId xmlns:a16="http://schemas.microsoft.com/office/drawing/2014/main" id="{8BB652F3-E70C-41B2-B1D6-C632507D4D77}"/>
              </a:ext>
            </a:extLst>
          </p:cNvPr>
          <p:cNvSpPr/>
          <p:nvPr/>
        </p:nvSpPr>
        <p:spPr>
          <a:xfrm>
            <a:off x="0" y="-17273"/>
            <a:ext cx="12214702" cy="3442643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任意多边形: 形状 16">
            <a:extLst>
              <a:ext uri="{FF2B5EF4-FFF2-40B4-BE49-F238E27FC236}">
                <a16:creationId xmlns:a16="http://schemas.microsoft.com/office/drawing/2014/main" id="{2C61F9E4-4D8D-4561-8C30-CC814E282287}"/>
              </a:ext>
            </a:extLst>
          </p:cNvPr>
          <p:cNvSpPr/>
          <p:nvPr/>
        </p:nvSpPr>
        <p:spPr>
          <a:xfrm flipV="1">
            <a:off x="0" y="325923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任意多边形: 形状 16">
            <a:extLst>
              <a:ext uri="{FF2B5EF4-FFF2-40B4-BE49-F238E27FC236}">
                <a16:creationId xmlns:a16="http://schemas.microsoft.com/office/drawing/2014/main" id="{3EC2C573-EB9C-4913-B6E0-744B0634EA26}"/>
              </a:ext>
            </a:extLst>
          </p:cNvPr>
          <p:cNvSpPr/>
          <p:nvPr/>
        </p:nvSpPr>
        <p:spPr>
          <a:xfrm flipV="1">
            <a:off x="9464634" y="325923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Rectángulo redondeado 14">
            <a:extLst>
              <a:ext uri="{FF2B5EF4-FFF2-40B4-BE49-F238E27FC236}">
                <a16:creationId xmlns:a16="http://schemas.microsoft.com/office/drawing/2014/main" id="{C7143A2C-3F85-47CD-9E2B-97A348E51562}"/>
              </a:ext>
            </a:extLst>
          </p:cNvPr>
          <p:cNvSpPr/>
          <p:nvPr/>
        </p:nvSpPr>
        <p:spPr>
          <a:xfrm>
            <a:off x="834056" y="1336378"/>
            <a:ext cx="10523889" cy="4168165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69FEE036-62FB-4E7F-8B1D-B1654A4735D8}"/>
              </a:ext>
            </a:extLst>
          </p:cNvPr>
          <p:cNvSpPr/>
          <p:nvPr/>
        </p:nvSpPr>
        <p:spPr>
          <a:xfrm>
            <a:off x="1158942" y="1662189"/>
            <a:ext cx="9874117" cy="3516543"/>
          </a:xfrm>
          <a:prstGeom prst="roundRect">
            <a:avLst>
              <a:gd name="adj" fmla="val 282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56144E1-FF2D-4715-8657-21CDEE3ECD1E}"/>
              </a:ext>
            </a:extLst>
          </p:cNvPr>
          <p:cNvCxnSpPr>
            <a:cxnSpLocks/>
          </p:cNvCxnSpPr>
          <p:nvPr/>
        </p:nvCxnSpPr>
        <p:spPr>
          <a:xfrm>
            <a:off x="2565400" y="2824843"/>
            <a:ext cx="43434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6C6DD49B-A4B9-3010-E139-7D311AFE3E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75777" y="1873058"/>
            <a:ext cx="5406398" cy="32383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22E3D79-9B2C-8450-3AFB-3B993CE480F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47602" y="1383821"/>
            <a:ext cx="3850084" cy="4073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6958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8019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0" y="4470400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69963" y="1204256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558939" y="1204257"/>
            <a:ext cx="5655761" cy="4125876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2</a:t>
            </a:fld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5350" y="2125525"/>
            <a:ext cx="5465327" cy="30253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Maximize distance travelled using DOE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Identify key design parameters (factors)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Recommend a high-performance, cost- effective desig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DFA620-B09C-052F-61D5-16761FF45B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05659" y="1519547"/>
            <a:ext cx="5206158" cy="3481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7240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7A70785-B463-47B1-B122-587FAB7F5F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720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83383D2E-35DD-485A-93B5-4DC7FDFCD1F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2" name="Rectángulo 6175">
            <a:extLst>
              <a:ext uri="{FF2B5EF4-FFF2-40B4-BE49-F238E27FC236}">
                <a16:creationId xmlns:a16="http://schemas.microsoft.com/office/drawing/2014/main" id="{23C290D0-6A72-452F-8582-ADE87DA110D0}"/>
              </a:ext>
            </a:extLst>
          </p:cNvPr>
          <p:cNvSpPr/>
          <p:nvPr/>
        </p:nvSpPr>
        <p:spPr>
          <a:xfrm flipV="1">
            <a:off x="9645188" y="-3"/>
            <a:ext cx="2546812" cy="6858002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3036D63D-5F0C-4766-ADC0-263540C0E3E8}"/>
              </a:ext>
            </a:extLst>
          </p:cNvPr>
          <p:cNvSpPr/>
          <p:nvPr/>
        </p:nvSpPr>
        <p:spPr>
          <a:xfrm rot="16200000">
            <a:off x="8101975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BE949EE-E1FD-4D2F-815C-865A15CEC628}"/>
              </a:ext>
            </a:extLst>
          </p:cNvPr>
          <p:cNvSpPr/>
          <p:nvPr/>
        </p:nvSpPr>
        <p:spPr>
          <a:xfrm>
            <a:off x="6736443" y="1"/>
            <a:ext cx="4891314" cy="3429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BDF70C0-AE68-4F28-B206-5BECDA2258B4}"/>
              </a:ext>
            </a:extLst>
          </p:cNvPr>
          <p:cNvSpPr/>
          <p:nvPr/>
        </p:nvSpPr>
        <p:spPr>
          <a:xfrm>
            <a:off x="6722424" y="770665"/>
            <a:ext cx="4905333" cy="5886392"/>
          </a:xfrm>
          <a:prstGeom prst="ellipse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CB5E8A7-CBF9-4BE3-AB6A-AC503DDF6722}"/>
              </a:ext>
            </a:extLst>
          </p:cNvPr>
          <p:cNvSpPr/>
          <p:nvPr/>
        </p:nvSpPr>
        <p:spPr>
          <a:xfrm>
            <a:off x="7344642" y="1591542"/>
            <a:ext cx="3674916" cy="367491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2C461919-26CB-4694-8C8B-0208664275C4}"/>
              </a:ext>
            </a:extLst>
          </p:cNvPr>
          <p:cNvSpPr/>
          <p:nvPr/>
        </p:nvSpPr>
        <p:spPr>
          <a:xfrm>
            <a:off x="3894764" y="2889480"/>
            <a:ext cx="472979" cy="472978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F716B2FA-9E78-4668-AB0D-467B1CE001D0}"/>
              </a:ext>
            </a:extLst>
          </p:cNvPr>
          <p:cNvSpPr/>
          <p:nvPr/>
        </p:nvSpPr>
        <p:spPr>
          <a:xfrm>
            <a:off x="2019361" y="2872211"/>
            <a:ext cx="472979" cy="472978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370B0A9-86A8-4400-A409-E63F77FD58B9}"/>
              </a:ext>
            </a:extLst>
          </p:cNvPr>
          <p:cNvSpPr/>
          <p:nvPr/>
        </p:nvSpPr>
        <p:spPr>
          <a:xfrm>
            <a:off x="191763" y="2893013"/>
            <a:ext cx="472979" cy="472978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4483A081-A6F8-4AE1-9C96-F42F23D5E4D0}"/>
              </a:ext>
            </a:extLst>
          </p:cNvPr>
          <p:cNvSpPr txBox="1">
            <a:spLocks/>
          </p:cNvSpPr>
          <p:nvPr/>
        </p:nvSpPr>
        <p:spPr>
          <a:xfrm>
            <a:off x="462090" y="3553478"/>
            <a:ext cx="1750888" cy="27429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Cars were released from the top of the ramp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1600" i="1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cs typeface="AkayaKanadaka" panose="02010502080401010103" pitchFamily="2" charset="77"/>
            </a:endParaRP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Horizontal distance traveled from the end of the ramp to the car’s stopping point was measured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1600" i="1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cs typeface="AkayaKanadaka" panose="02010502080401010103" pitchFamily="2" charset="77"/>
            </a:endParaRP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1600" i="1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cs typeface="AkayaKanadaka" panose="02010502080401010103" pitchFamily="2" charset="77"/>
            </a:endParaRP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9403184E-48E5-467D-A3AB-73EA9E36DBF5}"/>
              </a:ext>
            </a:extLst>
          </p:cNvPr>
          <p:cNvSpPr txBox="1">
            <a:spLocks/>
          </p:cNvSpPr>
          <p:nvPr/>
        </p:nvSpPr>
        <p:spPr>
          <a:xfrm>
            <a:off x="4323443" y="4078635"/>
            <a:ext cx="1750888" cy="17960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16B5DB8-9936-4425-903C-3DCAAF1B8DF6}"/>
              </a:ext>
            </a:extLst>
          </p:cNvPr>
          <p:cNvGrpSpPr/>
          <p:nvPr/>
        </p:nvGrpSpPr>
        <p:grpSpPr>
          <a:xfrm>
            <a:off x="2544959" y="3674502"/>
            <a:ext cx="270746" cy="158632"/>
            <a:chOff x="4113213" y="4046538"/>
            <a:chExt cx="360363" cy="211138"/>
          </a:xfrm>
          <a:solidFill>
            <a:schemeClr val="bg1"/>
          </a:solidFill>
        </p:grpSpPr>
        <p:sp>
          <p:nvSpPr>
            <p:cNvPr id="49" name="Freeform 84">
              <a:extLst>
                <a:ext uri="{FF2B5EF4-FFF2-40B4-BE49-F238E27FC236}">
                  <a16:creationId xmlns:a16="http://schemas.microsoft.com/office/drawing/2014/main" id="{978ED4B2-4FC2-4D5C-B6EB-9E5FA64AA6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0213" y="4098925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6 w 28"/>
                <a:gd name="T11" fmla="*/ 12 h 28"/>
                <a:gd name="T12" fmla="*/ 8 w 28"/>
                <a:gd name="T13" fmla="*/ 14 h 28"/>
                <a:gd name="T14" fmla="*/ 14 w 28"/>
                <a:gd name="T15" fmla="*/ 20 h 28"/>
                <a:gd name="T16" fmla="*/ 20 w 28"/>
                <a:gd name="T17" fmla="*/ 14 h 28"/>
                <a:gd name="T18" fmla="*/ 14 w 28"/>
                <a:gd name="T19" fmla="*/ 8 h 28"/>
                <a:gd name="T20" fmla="*/ 12 w 28"/>
                <a:gd name="T21" fmla="*/ 6 h 28"/>
                <a:gd name="T22" fmla="*/ 14 w 28"/>
                <a:gd name="T23" fmla="*/ 4 h 28"/>
                <a:gd name="T24" fmla="*/ 24 w 28"/>
                <a:gd name="T25" fmla="*/ 14 h 28"/>
                <a:gd name="T26" fmla="*/ 14 w 28"/>
                <a:gd name="T27" fmla="*/ 24 h 28"/>
                <a:gd name="T28" fmla="*/ 4 w 28"/>
                <a:gd name="T29" fmla="*/ 14 h 28"/>
                <a:gd name="T30" fmla="*/ 6 w 28"/>
                <a:gd name="T3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6" y="12"/>
                  </a:moveTo>
                  <a:cubicBezTo>
                    <a:pt x="7" y="12"/>
                    <a:pt x="8" y="13"/>
                    <a:pt x="8" y="14"/>
                  </a:cubicBezTo>
                  <a:cubicBezTo>
                    <a:pt x="8" y="17"/>
                    <a:pt x="11" y="20"/>
                    <a:pt x="14" y="20"/>
                  </a:cubicBezTo>
                  <a:cubicBezTo>
                    <a:pt x="17" y="20"/>
                    <a:pt x="20" y="17"/>
                    <a:pt x="20" y="14"/>
                  </a:cubicBezTo>
                  <a:cubicBezTo>
                    <a:pt x="20" y="11"/>
                    <a:pt x="17" y="8"/>
                    <a:pt x="14" y="8"/>
                  </a:cubicBezTo>
                  <a:cubicBezTo>
                    <a:pt x="13" y="8"/>
                    <a:pt x="12" y="7"/>
                    <a:pt x="12" y="6"/>
                  </a:cubicBezTo>
                  <a:cubicBezTo>
                    <a:pt x="12" y="5"/>
                    <a:pt x="13" y="4"/>
                    <a:pt x="14" y="4"/>
                  </a:cubicBezTo>
                  <a:cubicBezTo>
                    <a:pt x="20" y="4"/>
                    <a:pt x="24" y="8"/>
                    <a:pt x="24" y="14"/>
                  </a:cubicBezTo>
                  <a:cubicBezTo>
                    <a:pt x="24" y="20"/>
                    <a:pt x="20" y="24"/>
                    <a:pt x="14" y="24"/>
                  </a:cubicBezTo>
                  <a:cubicBezTo>
                    <a:pt x="8" y="24"/>
                    <a:pt x="4" y="20"/>
                    <a:pt x="4" y="14"/>
                  </a:cubicBezTo>
                  <a:cubicBezTo>
                    <a:pt x="4" y="13"/>
                    <a:pt x="5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Freeform 85">
              <a:extLst>
                <a:ext uri="{FF2B5EF4-FFF2-40B4-BE49-F238E27FC236}">
                  <a16:creationId xmlns:a16="http://schemas.microsoft.com/office/drawing/2014/main" id="{9D03681D-C6C0-4DE4-8800-06242BBA7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4046538"/>
              <a:ext cx="360363" cy="211138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6FA531F-A02E-4502-AFBB-DFA4B40728F4}"/>
              </a:ext>
            </a:extLst>
          </p:cNvPr>
          <p:cNvGrpSpPr/>
          <p:nvPr/>
        </p:nvGrpSpPr>
        <p:grpSpPr>
          <a:xfrm>
            <a:off x="4009408" y="3004607"/>
            <a:ext cx="246133" cy="228785"/>
            <a:chOff x="6276975" y="3981450"/>
            <a:chExt cx="360363" cy="334963"/>
          </a:xfrm>
          <a:solidFill>
            <a:schemeClr val="bg1"/>
          </a:solidFill>
        </p:grpSpPr>
        <p:sp>
          <p:nvSpPr>
            <p:cNvPr id="52" name="Freeform 98">
              <a:extLst>
                <a:ext uri="{FF2B5EF4-FFF2-40B4-BE49-F238E27FC236}">
                  <a16:creationId xmlns:a16="http://schemas.microsoft.com/office/drawing/2014/main" id="{8F013092-CF82-4477-B9CA-475096DDA8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2238" y="3981450"/>
              <a:ext cx="165100" cy="334963"/>
            </a:xfrm>
            <a:custGeom>
              <a:avLst/>
              <a:gdLst>
                <a:gd name="T0" fmla="*/ 14 w 44"/>
                <a:gd name="T1" fmla="*/ 37 h 89"/>
                <a:gd name="T2" fmla="*/ 12 w 44"/>
                <a:gd name="T3" fmla="*/ 39 h 89"/>
                <a:gd name="T4" fmla="*/ 10 w 44"/>
                <a:gd name="T5" fmla="*/ 37 h 89"/>
                <a:gd name="T6" fmla="*/ 0 w 44"/>
                <a:gd name="T7" fmla="*/ 31 h 89"/>
                <a:gd name="T8" fmla="*/ 0 w 44"/>
                <a:gd name="T9" fmla="*/ 67 h 89"/>
                <a:gd name="T10" fmla="*/ 22 w 44"/>
                <a:gd name="T11" fmla="*/ 89 h 89"/>
                <a:gd name="T12" fmla="*/ 44 w 44"/>
                <a:gd name="T13" fmla="*/ 67 h 89"/>
                <a:gd name="T14" fmla="*/ 40 w 44"/>
                <a:gd name="T15" fmla="*/ 54 h 89"/>
                <a:gd name="T16" fmla="*/ 28 w 44"/>
                <a:gd name="T17" fmla="*/ 26 h 89"/>
                <a:gd name="T18" fmla="*/ 27 w 44"/>
                <a:gd name="T19" fmla="*/ 26 h 89"/>
                <a:gd name="T20" fmla="*/ 22 w 44"/>
                <a:gd name="T21" fmla="*/ 20 h 89"/>
                <a:gd name="T22" fmla="*/ 16 w 44"/>
                <a:gd name="T23" fmla="*/ 5 h 89"/>
                <a:gd name="T24" fmla="*/ 15 w 44"/>
                <a:gd name="T25" fmla="*/ 4 h 89"/>
                <a:gd name="T26" fmla="*/ 1 w 44"/>
                <a:gd name="T27" fmla="*/ 4 h 89"/>
                <a:gd name="T28" fmla="*/ 0 w 44"/>
                <a:gd name="T29" fmla="*/ 5 h 89"/>
                <a:gd name="T30" fmla="*/ 0 w 44"/>
                <a:gd name="T31" fmla="*/ 27 h 89"/>
                <a:gd name="T32" fmla="*/ 14 w 44"/>
                <a:gd name="T33" fmla="*/ 3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14" y="37"/>
                  </a:moveTo>
                  <a:cubicBezTo>
                    <a:pt x="14" y="38"/>
                    <a:pt x="13" y="39"/>
                    <a:pt x="12" y="39"/>
                  </a:cubicBezTo>
                  <a:cubicBezTo>
                    <a:pt x="11" y="39"/>
                    <a:pt x="10" y="38"/>
                    <a:pt x="10" y="37"/>
                  </a:cubicBezTo>
                  <a:cubicBezTo>
                    <a:pt x="10" y="35"/>
                    <a:pt x="6" y="32"/>
                    <a:pt x="0" y="31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62"/>
                    <a:pt x="42" y="58"/>
                    <a:pt x="40" y="54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8" y="26"/>
                    <a:pt x="27" y="26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4"/>
                    <a:pt x="16" y="4"/>
                    <a:pt x="15" y="4"/>
                  </a:cubicBezTo>
                  <a:cubicBezTo>
                    <a:pt x="12" y="0"/>
                    <a:pt x="4" y="0"/>
                    <a:pt x="1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8" y="28"/>
                    <a:pt x="14" y="32"/>
                    <a:pt x="14" y="3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99">
              <a:extLst>
                <a:ext uri="{FF2B5EF4-FFF2-40B4-BE49-F238E27FC236}">
                  <a16:creationId xmlns:a16="http://schemas.microsoft.com/office/drawing/2014/main" id="{D4074923-4236-4EF3-B21E-40B4A6DF2A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6975" y="3981450"/>
              <a:ext cx="165100" cy="334963"/>
            </a:xfrm>
            <a:custGeom>
              <a:avLst/>
              <a:gdLst>
                <a:gd name="T0" fmla="*/ 0 w 44"/>
                <a:gd name="T1" fmla="*/ 67 h 89"/>
                <a:gd name="T2" fmla="*/ 22 w 44"/>
                <a:gd name="T3" fmla="*/ 89 h 89"/>
                <a:gd name="T4" fmla="*/ 44 w 44"/>
                <a:gd name="T5" fmla="*/ 67 h 89"/>
                <a:gd name="T6" fmla="*/ 44 w 44"/>
                <a:gd name="T7" fmla="*/ 31 h 89"/>
                <a:gd name="T8" fmla="*/ 34 w 44"/>
                <a:gd name="T9" fmla="*/ 37 h 89"/>
                <a:gd name="T10" fmla="*/ 32 w 44"/>
                <a:gd name="T11" fmla="*/ 39 h 89"/>
                <a:gd name="T12" fmla="*/ 30 w 44"/>
                <a:gd name="T13" fmla="*/ 37 h 89"/>
                <a:gd name="T14" fmla="*/ 44 w 44"/>
                <a:gd name="T15" fmla="*/ 27 h 89"/>
                <a:gd name="T16" fmla="*/ 44 w 44"/>
                <a:gd name="T17" fmla="*/ 5 h 89"/>
                <a:gd name="T18" fmla="*/ 43 w 44"/>
                <a:gd name="T19" fmla="*/ 4 h 89"/>
                <a:gd name="T20" fmla="*/ 29 w 44"/>
                <a:gd name="T21" fmla="*/ 4 h 89"/>
                <a:gd name="T22" fmla="*/ 28 w 44"/>
                <a:gd name="T23" fmla="*/ 4 h 89"/>
                <a:gd name="T24" fmla="*/ 22 w 44"/>
                <a:gd name="T25" fmla="*/ 20 h 89"/>
                <a:gd name="T26" fmla="*/ 17 w 44"/>
                <a:gd name="T27" fmla="*/ 26 h 89"/>
                <a:gd name="T28" fmla="*/ 16 w 44"/>
                <a:gd name="T29" fmla="*/ 26 h 89"/>
                <a:gd name="T30" fmla="*/ 4 w 44"/>
                <a:gd name="T31" fmla="*/ 54 h 89"/>
                <a:gd name="T32" fmla="*/ 0 w 44"/>
                <a:gd name="T33" fmla="*/ 6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0" y="67"/>
                  </a:move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38" y="32"/>
                    <a:pt x="34" y="35"/>
                    <a:pt x="34" y="37"/>
                  </a:cubicBezTo>
                  <a:cubicBezTo>
                    <a:pt x="34" y="38"/>
                    <a:pt x="33" y="39"/>
                    <a:pt x="32" y="39"/>
                  </a:cubicBezTo>
                  <a:cubicBezTo>
                    <a:pt x="31" y="39"/>
                    <a:pt x="30" y="38"/>
                    <a:pt x="30" y="37"/>
                  </a:cubicBezTo>
                  <a:cubicBezTo>
                    <a:pt x="30" y="32"/>
                    <a:pt x="36" y="28"/>
                    <a:pt x="44" y="27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0" y="0"/>
                    <a:pt x="32" y="0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2" y="58"/>
                    <a:pt x="0" y="62"/>
                    <a:pt x="0" y="6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00">
              <a:extLst>
                <a:ext uri="{FF2B5EF4-FFF2-40B4-BE49-F238E27FC236}">
                  <a16:creationId xmlns:a16="http://schemas.microsoft.com/office/drawing/2014/main" id="{CB4DB4FE-2D19-444B-87BB-D0EBADDFF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138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Freeform 101">
              <a:extLst>
                <a:ext uri="{FF2B5EF4-FFF2-40B4-BE49-F238E27FC236}">
                  <a16:creationId xmlns:a16="http://schemas.microsoft.com/office/drawing/2014/main" id="{6614D902-D818-489E-B644-7E70A16EE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400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6" name="Freeform 69">
            <a:extLst>
              <a:ext uri="{FF2B5EF4-FFF2-40B4-BE49-F238E27FC236}">
                <a16:creationId xmlns:a16="http://schemas.microsoft.com/office/drawing/2014/main" id="{654AA7FF-CD1E-4B83-AA38-2D6E42996A55}"/>
              </a:ext>
            </a:extLst>
          </p:cNvPr>
          <p:cNvSpPr>
            <a:spLocks noEditPoints="1"/>
          </p:cNvSpPr>
          <p:nvPr/>
        </p:nvSpPr>
        <p:spPr bwMode="auto">
          <a:xfrm>
            <a:off x="317186" y="2996842"/>
            <a:ext cx="248302" cy="249385"/>
          </a:xfrm>
          <a:custGeom>
            <a:avLst/>
            <a:gdLst>
              <a:gd name="T0" fmla="*/ 83 w 97"/>
              <a:gd name="T1" fmla="*/ 41 h 97"/>
              <a:gd name="T2" fmla="*/ 79 w 97"/>
              <a:gd name="T3" fmla="*/ 31 h 97"/>
              <a:gd name="T4" fmla="*/ 94 w 97"/>
              <a:gd name="T5" fmla="*/ 2 h 97"/>
              <a:gd name="T6" fmla="*/ 71 w 97"/>
              <a:gd name="T7" fmla="*/ 21 h 97"/>
              <a:gd name="T8" fmla="*/ 56 w 97"/>
              <a:gd name="T9" fmla="*/ 14 h 97"/>
              <a:gd name="T10" fmla="*/ 54 w 97"/>
              <a:gd name="T11" fmla="*/ 1 h 97"/>
              <a:gd name="T12" fmla="*/ 40 w 97"/>
              <a:gd name="T13" fmla="*/ 3 h 97"/>
              <a:gd name="T14" fmla="*/ 31 w 97"/>
              <a:gd name="T15" fmla="*/ 18 h 97"/>
              <a:gd name="T16" fmla="*/ 20 w 97"/>
              <a:gd name="T17" fmla="*/ 9 h 97"/>
              <a:gd name="T18" fmla="*/ 8 w 97"/>
              <a:gd name="T19" fmla="*/ 22 h 97"/>
              <a:gd name="T20" fmla="*/ 17 w 97"/>
              <a:gd name="T21" fmla="*/ 32 h 97"/>
              <a:gd name="T22" fmla="*/ 2 w 97"/>
              <a:gd name="T23" fmla="*/ 41 h 97"/>
              <a:gd name="T24" fmla="*/ 0 w 97"/>
              <a:gd name="T25" fmla="*/ 55 h 97"/>
              <a:gd name="T26" fmla="*/ 13 w 97"/>
              <a:gd name="T27" fmla="*/ 57 h 97"/>
              <a:gd name="T28" fmla="*/ 8 w 97"/>
              <a:gd name="T29" fmla="*/ 74 h 97"/>
              <a:gd name="T30" fmla="*/ 8 w 97"/>
              <a:gd name="T31" fmla="*/ 77 h 97"/>
              <a:gd name="T32" fmla="*/ 23 w 97"/>
              <a:gd name="T33" fmla="*/ 89 h 97"/>
              <a:gd name="T34" fmla="*/ 40 w 97"/>
              <a:gd name="T35" fmla="*/ 84 h 97"/>
              <a:gd name="T36" fmla="*/ 42 w 97"/>
              <a:gd name="T37" fmla="*/ 97 h 97"/>
              <a:gd name="T38" fmla="*/ 56 w 97"/>
              <a:gd name="T39" fmla="*/ 95 h 97"/>
              <a:gd name="T40" fmla="*/ 65 w 97"/>
              <a:gd name="T41" fmla="*/ 80 h 97"/>
              <a:gd name="T42" fmla="*/ 76 w 97"/>
              <a:gd name="T43" fmla="*/ 89 h 97"/>
              <a:gd name="T44" fmla="*/ 88 w 97"/>
              <a:gd name="T45" fmla="*/ 74 h 97"/>
              <a:gd name="T46" fmla="*/ 83 w 97"/>
              <a:gd name="T47" fmla="*/ 57 h 97"/>
              <a:gd name="T48" fmla="*/ 96 w 97"/>
              <a:gd name="T49" fmla="*/ 55 h 97"/>
              <a:gd name="T50" fmla="*/ 94 w 97"/>
              <a:gd name="T51" fmla="*/ 41 h 97"/>
              <a:gd name="T52" fmla="*/ 49 w 97"/>
              <a:gd name="T53" fmla="*/ 60 h 97"/>
              <a:gd name="T54" fmla="*/ 48 w 97"/>
              <a:gd name="T55" fmla="*/ 60 h 97"/>
              <a:gd name="T56" fmla="*/ 30 w 97"/>
              <a:gd name="T57" fmla="*/ 39 h 97"/>
              <a:gd name="T58" fmla="*/ 49 w 97"/>
              <a:gd name="T59" fmla="*/ 56 h 97"/>
              <a:gd name="T60" fmla="*/ 91 w 97"/>
              <a:gd name="T61" fmla="*/ 5 h 97"/>
              <a:gd name="T62" fmla="*/ 51 w 97"/>
              <a:gd name="T63" fmla="*/ 6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7" h="97">
                <a:moveTo>
                  <a:pt x="94" y="41"/>
                </a:moveTo>
                <a:cubicBezTo>
                  <a:pt x="83" y="41"/>
                  <a:pt x="83" y="41"/>
                  <a:pt x="83" y="41"/>
                </a:cubicBezTo>
                <a:cubicBezTo>
                  <a:pt x="82" y="39"/>
                  <a:pt x="82" y="37"/>
                  <a:pt x="81" y="35"/>
                </a:cubicBezTo>
                <a:cubicBezTo>
                  <a:pt x="80" y="34"/>
                  <a:pt x="79" y="32"/>
                  <a:pt x="79" y="31"/>
                </a:cubicBezTo>
                <a:cubicBezTo>
                  <a:pt x="95" y="11"/>
                  <a:pt x="95" y="11"/>
                  <a:pt x="95" y="11"/>
                </a:cubicBezTo>
                <a:cubicBezTo>
                  <a:pt x="97" y="8"/>
                  <a:pt x="96" y="4"/>
                  <a:pt x="94" y="2"/>
                </a:cubicBezTo>
                <a:cubicBezTo>
                  <a:pt x="91" y="0"/>
                  <a:pt x="87" y="1"/>
                  <a:pt x="85" y="3"/>
                </a:cubicBezTo>
                <a:cubicBezTo>
                  <a:pt x="71" y="21"/>
                  <a:pt x="71" y="21"/>
                  <a:pt x="71" y="21"/>
                </a:cubicBezTo>
                <a:cubicBezTo>
                  <a:pt x="70" y="20"/>
                  <a:pt x="68" y="19"/>
                  <a:pt x="67" y="18"/>
                </a:cubicBezTo>
                <a:cubicBezTo>
                  <a:pt x="64" y="17"/>
                  <a:pt x="60" y="15"/>
                  <a:pt x="56" y="1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2"/>
                  <a:pt x="55" y="1"/>
                  <a:pt x="54" y="1"/>
                </a:cubicBezTo>
                <a:cubicBezTo>
                  <a:pt x="42" y="1"/>
                  <a:pt x="42" y="1"/>
                  <a:pt x="42" y="1"/>
                </a:cubicBezTo>
                <a:cubicBezTo>
                  <a:pt x="41" y="1"/>
                  <a:pt x="40" y="2"/>
                  <a:pt x="40" y="3"/>
                </a:cubicBezTo>
                <a:cubicBezTo>
                  <a:pt x="40" y="14"/>
                  <a:pt x="40" y="14"/>
                  <a:pt x="40" y="14"/>
                </a:cubicBezTo>
                <a:cubicBezTo>
                  <a:pt x="37" y="15"/>
                  <a:pt x="33" y="16"/>
                  <a:pt x="31" y="18"/>
                </a:cubicBezTo>
                <a:cubicBezTo>
                  <a:pt x="23" y="9"/>
                  <a:pt x="23" y="9"/>
                  <a:pt x="23" y="9"/>
                </a:cubicBezTo>
                <a:cubicBezTo>
                  <a:pt x="22" y="9"/>
                  <a:pt x="20" y="9"/>
                  <a:pt x="20" y="9"/>
                </a:cubicBezTo>
                <a:cubicBezTo>
                  <a:pt x="8" y="21"/>
                  <a:pt x="8" y="21"/>
                  <a:pt x="8" y="21"/>
                </a:cubicBezTo>
                <a:cubicBezTo>
                  <a:pt x="8" y="21"/>
                  <a:pt x="8" y="22"/>
                  <a:pt x="8" y="22"/>
                </a:cubicBezTo>
                <a:cubicBezTo>
                  <a:pt x="8" y="23"/>
                  <a:pt x="8" y="23"/>
                  <a:pt x="8" y="24"/>
                </a:cubicBezTo>
                <a:cubicBezTo>
                  <a:pt x="17" y="32"/>
                  <a:pt x="17" y="32"/>
                  <a:pt x="17" y="32"/>
                </a:cubicBezTo>
                <a:cubicBezTo>
                  <a:pt x="15" y="34"/>
                  <a:pt x="14" y="38"/>
                  <a:pt x="13" y="41"/>
                </a:cubicBezTo>
                <a:cubicBezTo>
                  <a:pt x="2" y="41"/>
                  <a:pt x="2" y="41"/>
                  <a:pt x="2" y="41"/>
                </a:cubicBezTo>
                <a:cubicBezTo>
                  <a:pt x="1" y="41"/>
                  <a:pt x="0" y="42"/>
                  <a:pt x="0" y="43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6"/>
                  <a:pt x="1" y="57"/>
                  <a:pt x="2" y="57"/>
                </a:cubicBezTo>
                <a:cubicBezTo>
                  <a:pt x="13" y="57"/>
                  <a:pt x="13" y="57"/>
                  <a:pt x="13" y="57"/>
                </a:cubicBezTo>
                <a:cubicBezTo>
                  <a:pt x="14" y="60"/>
                  <a:pt x="15" y="64"/>
                  <a:pt x="17" y="66"/>
                </a:cubicBezTo>
                <a:cubicBezTo>
                  <a:pt x="8" y="74"/>
                  <a:pt x="8" y="74"/>
                  <a:pt x="8" y="74"/>
                </a:cubicBezTo>
                <a:cubicBezTo>
                  <a:pt x="8" y="75"/>
                  <a:pt x="8" y="75"/>
                  <a:pt x="8" y="76"/>
                </a:cubicBezTo>
                <a:cubicBezTo>
                  <a:pt x="8" y="76"/>
                  <a:pt x="8" y="77"/>
                  <a:pt x="8" y="77"/>
                </a:cubicBezTo>
                <a:cubicBezTo>
                  <a:pt x="20" y="89"/>
                  <a:pt x="20" y="89"/>
                  <a:pt x="20" y="89"/>
                </a:cubicBezTo>
                <a:cubicBezTo>
                  <a:pt x="20" y="89"/>
                  <a:pt x="22" y="89"/>
                  <a:pt x="23" y="89"/>
                </a:cubicBezTo>
                <a:cubicBezTo>
                  <a:pt x="31" y="80"/>
                  <a:pt x="31" y="80"/>
                  <a:pt x="31" y="80"/>
                </a:cubicBezTo>
                <a:cubicBezTo>
                  <a:pt x="33" y="82"/>
                  <a:pt x="37" y="83"/>
                  <a:pt x="40" y="84"/>
                </a:cubicBezTo>
                <a:cubicBezTo>
                  <a:pt x="40" y="95"/>
                  <a:pt x="40" y="95"/>
                  <a:pt x="40" y="95"/>
                </a:cubicBezTo>
                <a:cubicBezTo>
                  <a:pt x="40" y="96"/>
                  <a:pt x="41" y="97"/>
                  <a:pt x="42" y="97"/>
                </a:cubicBezTo>
                <a:cubicBezTo>
                  <a:pt x="54" y="97"/>
                  <a:pt x="54" y="97"/>
                  <a:pt x="54" y="97"/>
                </a:cubicBezTo>
                <a:cubicBezTo>
                  <a:pt x="55" y="97"/>
                  <a:pt x="56" y="96"/>
                  <a:pt x="56" y="95"/>
                </a:cubicBezTo>
                <a:cubicBezTo>
                  <a:pt x="56" y="84"/>
                  <a:pt x="56" y="84"/>
                  <a:pt x="56" y="84"/>
                </a:cubicBezTo>
                <a:cubicBezTo>
                  <a:pt x="59" y="83"/>
                  <a:pt x="63" y="82"/>
                  <a:pt x="65" y="80"/>
                </a:cubicBezTo>
                <a:cubicBezTo>
                  <a:pt x="73" y="89"/>
                  <a:pt x="73" y="89"/>
                  <a:pt x="73" y="89"/>
                </a:cubicBezTo>
                <a:cubicBezTo>
                  <a:pt x="74" y="89"/>
                  <a:pt x="76" y="89"/>
                  <a:pt x="76" y="89"/>
                </a:cubicBezTo>
                <a:cubicBezTo>
                  <a:pt x="88" y="77"/>
                  <a:pt x="88" y="77"/>
                  <a:pt x="88" y="77"/>
                </a:cubicBezTo>
                <a:cubicBezTo>
                  <a:pt x="88" y="77"/>
                  <a:pt x="88" y="75"/>
                  <a:pt x="88" y="74"/>
                </a:cubicBezTo>
                <a:cubicBezTo>
                  <a:pt x="79" y="66"/>
                  <a:pt x="79" y="66"/>
                  <a:pt x="79" y="66"/>
                </a:cubicBezTo>
                <a:cubicBezTo>
                  <a:pt x="81" y="64"/>
                  <a:pt x="82" y="60"/>
                  <a:pt x="83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5" y="57"/>
                  <a:pt x="96" y="56"/>
                  <a:pt x="96" y="55"/>
                </a:cubicBezTo>
                <a:cubicBezTo>
                  <a:pt x="96" y="43"/>
                  <a:pt x="96" y="43"/>
                  <a:pt x="96" y="43"/>
                </a:cubicBezTo>
                <a:cubicBezTo>
                  <a:pt x="96" y="42"/>
                  <a:pt x="95" y="41"/>
                  <a:pt x="94" y="41"/>
                </a:cubicBezTo>
                <a:close/>
                <a:moveTo>
                  <a:pt x="51" y="60"/>
                </a:moveTo>
                <a:cubicBezTo>
                  <a:pt x="50" y="60"/>
                  <a:pt x="50" y="60"/>
                  <a:pt x="49" y="60"/>
                </a:cubicBezTo>
                <a:cubicBezTo>
                  <a:pt x="49" y="61"/>
                  <a:pt x="49" y="61"/>
                  <a:pt x="49" y="61"/>
                </a:cubicBezTo>
                <a:cubicBezTo>
                  <a:pt x="49" y="61"/>
                  <a:pt x="48" y="60"/>
                  <a:pt x="48" y="60"/>
                </a:cubicBezTo>
                <a:cubicBezTo>
                  <a:pt x="30" y="42"/>
                  <a:pt x="30" y="42"/>
                  <a:pt x="30" y="42"/>
                </a:cubicBezTo>
                <a:cubicBezTo>
                  <a:pt x="29" y="41"/>
                  <a:pt x="29" y="40"/>
                  <a:pt x="30" y="39"/>
                </a:cubicBezTo>
                <a:cubicBezTo>
                  <a:pt x="31" y="38"/>
                  <a:pt x="32" y="38"/>
                  <a:pt x="33" y="39"/>
                </a:cubicBezTo>
                <a:cubicBezTo>
                  <a:pt x="49" y="56"/>
                  <a:pt x="49" y="56"/>
                  <a:pt x="49" y="56"/>
                </a:cubicBezTo>
                <a:cubicBezTo>
                  <a:pt x="88" y="6"/>
                  <a:pt x="88" y="6"/>
                  <a:pt x="88" y="6"/>
                </a:cubicBezTo>
                <a:cubicBezTo>
                  <a:pt x="89" y="5"/>
                  <a:pt x="90" y="5"/>
                  <a:pt x="91" y="5"/>
                </a:cubicBezTo>
                <a:cubicBezTo>
                  <a:pt x="92" y="6"/>
                  <a:pt x="92" y="7"/>
                  <a:pt x="92" y="8"/>
                </a:cubicBezTo>
                <a:lnTo>
                  <a:pt x="51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F4FFC93-7895-41FC-9681-9AD0A206D726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FBF2C23D-565C-4AF6-8B29-7739839C6A71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Slide Number Placeholder 5">
            <a:extLst>
              <a:ext uri="{FF2B5EF4-FFF2-40B4-BE49-F238E27FC236}">
                <a16:creationId xmlns:a16="http://schemas.microsoft.com/office/drawing/2014/main" id="{7E2CF59C-53C5-46F1-BC29-BECC19F9DD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83DB932-C464-9043-FD4D-D0A2B31F9E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22424" y="11737"/>
            <a:ext cx="4891314" cy="1749538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71E4A42-7E84-F0B5-B61D-9E6036D76D41}"/>
              </a:ext>
            </a:extLst>
          </p:cNvPr>
          <p:cNvSpPr txBox="1">
            <a:spLocks/>
          </p:cNvSpPr>
          <p:nvPr/>
        </p:nvSpPr>
        <p:spPr>
          <a:xfrm>
            <a:off x="663779" y="2851162"/>
            <a:ext cx="1252893" cy="51129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ced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D3F36CC-BAD6-65D9-BD87-7B778E730B10}"/>
              </a:ext>
            </a:extLst>
          </p:cNvPr>
          <p:cNvSpPr txBox="1">
            <a:spLocks/>
          </p:cNvSpPr>
          <p:nvPr/>
        </p:nvSpPr>
        <p:spPr>
          <a:xfrm>
            <a:off x="2497440" y="2865887"/>
            <a:ext cx="1252893" cy="51129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cedure</a:t>
            </a:r>
          </a:p>
        </p:txBody>
      </p:sp>
      <p:sp>
        <p:nvSpPr>
          <p:cNvPr id="5" name="Freeform 69">
            <a:extLst>
              <a:ext uri="{FF2B5EF4-FFF2-40B4-BE49-F238E27FC236}">
                <a16:creationId xmlns:a16="http://schemas.microsoft.com/office/drawing/2014/main" id="{D8F6343F-5345-CD55-B793-1AF010538489}"/>
              </a:ext>
            </a:extLst>
          </p:cNvPr>
          <p:cNvSpPr>
            <a:spLocks noEditPoints="1"/>
          </p:cNvSpPr>
          <p:nvPr/>
        </p:nvSpPr>
        <p:spPr bwMode="auto">
          <a:xfrm>
            <a:off x="2142481" y="2984007"/>
            <a:ext cx="248302" cy="249385"/>
          </a:xfrm>
          <a:custGeom>
            <a:avLst/>
            <a:gdLst>
              <a:gd name="T0" fmla="*/ 83 w 97"/>
              <a:gd name="T1" fmla="*/ 41 h 97"/>
              <a:gd name="T2" fmla="*/ 79 w 97"/>
              <a:gd name="T3" fmla="*/ 31 h 97"/>
              <a:gd name="T4" fmla="*/ 94 w 97"/>
              <a:gd name="T5" fmla="*/ 2 h 97"/>
              <a:gd name="T6" fmla="*/ 71 w 97"/>
              <a:gd name="T7" fmla="*/ 21 h 97"/>
              <a:gd name="T8" fmla="*/ 56 w 97"/>
              <a:gd name="T9" fmla="*/ 14 h 97"/>
              <a:gd name="T10" fmla="*/ 54 w 97"/>
              <a:gd name="T11" fmla="*/ 1 h 97"/>
              <a:gd name="T12" fmla="*/ 40 w 97"/>
              <a:gd name="T13" fmla="*/ 3 h 97"/>
              <a:gd name="T14" fmla="*/ 31 w 97"/>
              <a:gd name="T15" fmla="*/ 18 h 97"/>
              <a:gd name="T16" fmla="*/ 20 w 97"/>
              <a:gd name="T17" fmla="*/ 9 h 97"/>
              <a:gd name="T18" fmla="*/ 8 w 97"/>
              <a:gd name="T19" fmla="*/ 22 h 97"/>
              <a:gd name="T20" fmla="*/ 17 w 97"/>
              <a:gd name="T21" fmla="*/ 32 h 97"/>
              <a:gd name="T22" fmla="*/ 2 w 97"/>
              <a:gd name="T23" fmla="*/ 41 h 97"/>
              <a:gd name="T24" fmla="*/ 0 w 97"/>
              <a:gd name="T25" fmla="*/ 55 h 97"/>
              <a:gd name="T26" fmla="*/ 13 w 97"/>
              <a:gd name="T27" fmla="*/ 57 h 97"/>
              <a:gd name="T28" fmla="*/ 8 w 97"/>
              <a:gd name="T29" fmla="*/ 74 h 97"/>
              <a:gd name="T30" fmla="*/ 8 w 97"/>
              <a:gd name="T31" fmla="*/ 77 h 97"/>
              <a:gd name="T32" fmla="*/ 23 w 97"/>
              <a:gd name="T33" fmla="*/ 89 h 97"/>
              <a:gd name="T34" fmla="*/ 40 w 97"/>
              <a:gd name="T35" fmla="*/ 84 h 97"/>
              <a:gd name="T36" fmla="*/ 42 w 97"/>
              <a:gd name="T37" fmla="*/ 97 h 97"/>
              <a:gd name="T38" fmla="*/ 56 w 97"/>
              <a:gd name="T39" fmla="*/ 95 h 97"/>
              <a:gd name="T40" fmla="*/ 65 w 97"/>
              <a:gd name="T41" fmla="*/ 80 h 97"/>
              <a:gd name="T42" fmla="*/ 76 w 97"/>
              <a:gd name="T43" fmla="*/ 89 h 97"/>
              <a:gd name="T44" fmla="*/ 88 w 97"/>
              <a:gd name="T45" fmla="*/ 74 h 97"/>
              <a:gd name="T46" fmla="*/ 83 w 97"/>
              <a:gd name="T47" fmla="*/ 57 h 97"/>
              <a:gd name="T48" fmla="*/ 96 w 97"/>
              <a:gd name="T49" fmla="*/ 55 h 97"/>
              <a:gd name="T50" fmla="*/ 94 w 97"/>
              <a:gd name="T51" fmla="*/ 41 h 97"/>
              <a:gd name="T52" fmla="*/ 49 w 97"/>
              <a:gd name="T53" fmla="*/ 60 h 97"/>
              <a:gd name="T54" fmla="*/ 48 w 97"/>
              <a:gd name="T55" fmla="*/ 60 h 97"/>
              <a:gd name="T56" fmla="*/ 30 w 97"/>
              <a:gd name="T57" fmla="*/ 39 h 97"/>
              <a:gd name="T58" fmla="*/ 49 w 97"/>
              <a:gd name="T59" fmla="*/ 56 h 97"/>
              <a:gd name="T60" fmla="*/ 91 w 97"/>
              <a:gd name="T61" fmla="*/ 5 h 97"/>
              <a:gd name="T62" fmla="*/ 51 w 97"/>
              <a:gd name="T63" fmla="*/ 6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7" h="97">
                <a:moveTo>
                  <a:pt x="94" y="41"/>
                </a:moveTo>
                <a:cubicBezTo>
                  <a:pt x="83" y="41"/>
                  <a:pt x="83" y="41"/>
                  <a:pt x="83" y="41"/>
                </a:cubicBezTo>
                <a:cubicBezTo>
                  <a:pt x="82" y="39"/>
                  <a:pt x="82" y="37"/>
                  <a:pt x="81" y="35"/>
                </a:cubicBezTo>
                <a:cubicBezTo>
                  <a:pt x="80" y="34"/>
                  <a:pt x="79" y="32"/>
                  <a:pt x="79" y="31"/>
                </a:cubicBezTo>
                <a:cubicBezTo>
                  <a:pt x="95" y="11"/>
                  <a:pt x="95" y="11"/>
                  <a:pt x="95" y="11"/>
                </a:cubicBezTo>
                <a:cubicBezTo>
                  <a:pt x="97" y="8"/>
                  <a:pt x="96" y="4"/>
                  <a:pt x="94" y="2"/>
                </a:cubicBezTo>
                <a:cubicBezTo>
                  <a:pt x="91" y="0"/>
                  <a:pt x="87" y="1"/>
                  <a:pt x="85" y="3"/>
                </a:cubicBezTo>
                <a:cubicBezTo>
                  <a:pt x="71" y="21"/>
                  <a:pt x="71" y="21"/>
                  <a:pt x="71" y="21"/>
                </a:cubicBezTo>
                <a:cubicBezTo>
                  <a:pt x="70" y="20"/>
                  <a:pt x="68" y="19"/>
                  <a:pt x="67" y="18"/>
                </a:cubicBezTo>
                <a:cubicBezTo>
                  <a:pt x="64" y="17"/>
                  <a:pt x="60" y="15"/>
                  <a:pt x="56" y="1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2"/>
                  <a:pt x="55" y="1"/>
                  <a:pt x="54" y="1"/>
                </a:cubicBezTo>
                <a:cubicBezTo>
                  <a:pt x="42" y="1"/>
                  <a:pt x="42" y="1"/>
                  <a:pt x="42" y="1"/>
                </a:cubicBezTo>
                <a:cubicBezTo>
                  <a:pt x="41" y="1"/>
                  <a:pt x="40" y="2"/>
                  <a:pt x="40" y="3"/>
                </a:cubicBezTo>
                <a:cubicBezTo>
                  <a:pt x="40" y="14"/>
                  <a:pt x="40" y="14"/>
                  <a:pt x="40" y="14"/>
                </a:cubicBezTo>
                <a:cubicBezTo>
                  <a:pt x="37" y="15"/>
                  <a:pt x="33" y="16"/>
                  <a:pt x="31" y="18"/>
                </a:cubicBezTo>
                <a:cubicBezTo>
                  <a:pt x="23" y="9"/>
                  <a:pt x="23" y="9"/>
                  <a:pt x="23" y="9"/>
                </a:cubicBezTo>
                <a:cubicBezTo>
                  <a:pt x="22" y="9"/>
                  <a:pt x="20" y="9"/>
                  <a:pt x="20" y="9"/>
                </a:cubicBezTo>
                <a:cubicBezTo>
                  <a:pt x="8" y="21"/>
                  <a:pt x="8" y="21"/>
                  <a:pt x="8" y="21"/>
                </a:cubicBezTo>
                <a:cubicBezTo>
                  <a:pt x="8" y="21"/>
                  <a:pt x="8" y="22"/>
                  <a:pt x="8" y="22"/>
                </a:cubicBezTo>
                <a:cubicBezTo>
                  <a:pt x="8" y="23"/>
                  <a:pt x="8" y="23"/>
                  <a:pt x="8" y="24"/>
                </a:cubicBezTo>
                <a:cubicBezTo>
                  <a:pt x="17" y="32"/>
                  <a:pt x="17" y="32"/>
                  <a:pt x="17" y="32"/>
                </a:cubicBezTo>
                <a:cubicBezTo>
                  <a:pt x="15" y="34"/>
                  <a:pt x="14" y="38"/>
                  <a:pt x="13" y="41"/>
                </a:cubicBezTo>
                <a:cubicBezTo>
                  <a:pt x="2" y="41"/>
                  <a:pt x="2" y="41"/>
                  <a:pt x="2" y="41"/>
                </a:cubicBezTo>
                <a:cubicBezTo>
                  <a:pt x="1" y="41"/>
                  <a:pt x="0" y="42"/>
                  <a:pt x="0" y="43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6"/>
                  <a:pt x="1" y="57"/>
                  <a:pt x="2" y="57"/>
                </a:cubicBezTo>
                <a:cubicBezTo>
                  <a:pt x="13" y="57"/>
                  <a:pt x="13" y="57"/>
                  <a:pt x="13" y="57"/>
                </a:cubicBezTo>
                <a:cubicBezTo>
                  <a:pt x="14" y="60"/>
                  <a:pt x="15" y="64"/>
                  <a:pt x="17" y="66"/>
                </a:cubicBezTo>
                <a:cubicBezTo>
                  <a:pt x="8" y="74"/>
                  <a:pt x="8" y="74"/>
                  <a:pt x="8" y="74"/>
                </a:cubicBezTo>
                <a:cubicBezTo>
                  <a:pt x="8" y="75"/>
                  <a:pt x="8" y="75"/>
                  <a:pt x="8" y="76"/>
                </a:cubicBezTo>
                <a:cubicBezTo>
                  <a:pt x="8" y="76"/>
                  <a:pt x="8" y="77"/>
                  <a:pt x="8" y="77"/>
                </a:cubicBezTo>
                <a:cubicBezTo>
                  <a:pt x="20" y="89"/>
                  <a:pt x="20" y="89"/>
                  <a:pt x="20" y="89"/>
                </a:cubicBezTo>
                <a:cubicBezTo>
                  <a:pt x="20" y="89"/>
                  <a:pt x="22" y="89"/>
                  <a:pt x="23" y="89"/>
                </a:cubicBezTo>
                <a:cubicBezTo>
                  <a:pt x="31" y="80"/>
                  <a:pt x="31" y="80"/>
                  <a:pt x="31" y="80"/>
                </a:cubicBezTo>
                <a:cubicBezTo>
                  <a:pt x="33" y="82"/>
                  <a:pt x="37" y="83"/>
                  <a:pt x="40" y="84"/>
                </a:cubicBezTo>
                <a:cubicBezTo>
                  <a:pt x="40" y="95"/>
                  <a:pt x="40" y="95"/>
                  <a:pt x="40" y="95"/>
                </a:cubicBezTo>
                <a:cubicBezTo>
                  <a:pt x="40" y="96"/>
                  <a:pt x="41" y="97"/>
                  <a:pt x="42" y="97"/>
                </a:cubicBezTo>
                <a:cubicBezTo>
                  <a:pt x="54" y="97"/>
                  <a:pt x="54" y="97"/>
                  <a:pt x="54" y="97"/>
                </a:cubicBezTo>
                <a:cubicBezTo>
                  <a:pt x="55" y="97"/>
                  <a:pt x="56" y="96"/>
                  <a:pt x="56" y="95"/>
                </a:cubicBezTo>
                <a:cubicBezTo>
                  <a:pt x="56" y="84"/>
                  <a:pt x="56" y="84"/>
                  <a:pt x="56" y="84"/>
                </a:cubicBezTo>
                <a:cubicBezTo>
                  <a:pt x="59" y="83"/>
                  <a:pt x="63" y="82"/>
                  <a:pt x="65" y="80"/>
                </a:cubicBezTo>
                <a:cubicBezTo>
                  <a:pt x="73" y="89"/>
                  <a:pt x="73" y="89"/>
                  <a:pt x="73" y="89"/>
                </a:cubicBezTo>
                <a:cubicBezTo>
                  <a:pt x="74" y="89"/>
                  <a:pt x="76" y="89"/>
                  <a:pt x="76" y="89"/>
                </a:cubicBezTo>
                <a:cubicBezTo>
                  <a:pt x="88" y="77"/>
                  <a:pt x="88" y="77"/>
                  <a:pt x="88" y="77"/>
                </a:cubicBezTo>
                <a:cubicBezTo>
                  <a:pt x="88" y="77"/>
                  <a:pt x="88" y="75"/>
                  <a:pt x="88" y="74"/>
                </a:cubicBezTo>
                <a:cubicBezTo>
                  <a:pt x="79" y="66"/>
                  <a:pt x="79" y="66"/>
                  <a:pt x="79" y="66"/>
                </a:cubicBezTo>
                <a:cubicBezTo>
                  <a:pt x="81" y="64"/>
                  <a:pt x="82" y="60"/>
                  <a:pt x="83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5" y="57"/>
                  <a:pt x="96" y="56"/>
                  <a:pt x="96" y="55"/>
                </a:cubicBezTo>
                <a:cubicBezTo>
                  <a:pt x="96" y="43"/>
                  <a:pt x="96" y="43"/>
                  <a:pt x="96" y="43"/>
                </a:cubicBezTo>
                <a:cubicBezTo>
                  <a:pt x="96" y="42"/>
                  <a:pt x="95" y="41"/>
                  <a:pt x="94" y="41"/>
                </a:cubicBezTo>
                <a:close/>
                <a:moveTo>
                  <a:pt x="51" y="60"/>
                </a:moveTo>
                <a:cubicBezTo>
                  <a:pt x="50" y="60"/>
                  <a:pt x="50" y="60"/>
                  <a:pt x="49" y="60"/>
                </a:cubicBezTo>
                <a:cubicBezTo>
                  <a:pt x="49" y="61"/>
                  <a:pt x="49" y="61"/>
                  <a:pt x="49" y="61"/>
                </a:cubicBezTo>
                <a:cubicBezTo>
                  <a:pt x="49" y="61"/>
                  <a:pt x="48" y="60"/>
                  <a:pt x="48" y="60"/>
                </a:cubicBezTo>
                <a:cubicBezTo>
                  <a:pt x="30" y="42"/>
                  <a:pt x="30" y="42"/>
                  <a:pt x="30" y="42"/>
                </a:cubicBezTo>
                <a:cubicBezTo>
                  <a:pt x="29" y="41"/>
                  <a:pt x="29" y="40"/>
                  <a:pt x="30" y="39"/>
                </a:cubicBezTo>
                <a:cubicBezTo>
                  <a:pt x="31" y="38"/>
                  <a:pt x="32" y="38"/>
                  <a:pt x="33" y="39"/>
                </a:cubicBezTo>
                <a:cubicBezTo>
                  <a:pt x="49" y="56"/>
                  <a:pt x="49" y="56"/>
                  <a:pt x="49" y="56"/>
                </a:cubicBezTo>
                <a:cubicBezTo>
                  <a:pt x="88" y="6"/>
                  <a:pt x="88" y="6"/>
                  <a:pt x="88" y="6"/>
                </a:cubicBezTo>
                <a:cubicBezTo>
                  <a:pt x="89" y="5"/>
                  <a:pt x="90" y="5"/>
                  <a:pt x="91" y="5"/>
                </a:cubicBezTo>
                <a:cubicBezTo>
                  <a:pt x="92" y="6"/>
                  <a:pt x="92" y="7"/>
                  <a:pt x="92" y="8"/>
                </a:cubicBezTo>
                <a:lnTo>
                  <a:pt x="51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400A108-362A-45CF-9630-78F507C59AE0}"/>
              </a:ext>
            </a:extLst>
          </p:cNvPr>
          <p:cNvSpPr txBox="1">
            <a:spLocks/>
          </p:cNvSpPr>
          <p:nvPr/>
        </p:nvSpPr>
        <p:spPr>
          <a:xfrm>
            <a:off x="2329282" y="3544523"/>
            <a:ext cx="1750888" cy="23573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Randomized run order (generated by </a:t>
            </a:r>
            <a:r>
              <a:rPr lang="en-US" sz="16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minitab</a:t>
            </a: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)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1600" i="1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cs typeface="AkayaKanadaka" panose="02010502080401010103" pitchFamily="2" charset="77"/>
            </a:endParaRP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2^4 full factorial * 3 replicates = 48 observation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1600" i="1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cs typeface="AkayaKanadaka" panose="02010502080401010103" pitchFamily="2" charset="77"/>
            </a:endParaRP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1600" i="1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cs typeface="AkayaKanadaka" panose="02010502080401010103" pitchFamily="2" charset="77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975CA80-46A8-34A7-E151-50D3309E4F75}"/>
              </a:ext>
            </a:extLst>
          </p:cNvPr>
          <p:cNvSpPr txBox="1">
            <a:spLocks/>
          </p:cNvSpPr>
          <p:nvPr/>
        </p:nvSpPr>
        <p:spPr>
          <a:xfrm>
            <a:off x="4382109" y="2872945"/>
            <a:ext cx="1252893" cy="51129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traint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FDAAC6C2-866E-9579-FB4E-229765FAD2AA}"/>
              </a:ext>
            </a:extLst>
          </p:cNvPr>
          <p:cNvSpPr txBox="1">
            <a:spLocks/>
          </p:cNvSpPr>
          <p:nvPr/>
        </p:nvSpPr>
        <p:spPr>
          <a:xfrm>
            <a:off x="4225043" y="3643996"/>
            <a:ext cx="1750888" cy="26524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Used Lego pieces those were provided. 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1600" i="1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cs typeface="AkayaKanadaka" panose="02010502080401010103" pitchFamily="2" charset="77"/>
            </a:endParaRP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Car design included mandatory windshield, steering wheel.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1600" i="1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cs typeface="AkayaKanadaka" panose="02010502080401010103" pitchFamily="2" charset="77"/>
            </a:endParaRP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1600" i="1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cs typeface="AkayaKanadaka" panose="02010502080401010103" pitchFamily="2" charset="77"/>
            </a:endParaRP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1600" i="1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cs typeface="AkayaKanadaka" panose="02010502080401010103" pitchFamily="2" charset="77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C2681380-9F24-6721-8FEC-857D3CB7489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44642" y="1769423"/>
            <a:ext cx="3674916" cy="3827751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C88DB2F2-1190-5EE4-47DA-8D88E0B2F1D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2090" y="311240"/>
            <a:ext cx="5666154" cy="2352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237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80D31804-B98B-4AF6-A5A6-8B39162684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80D31804-B98B-4AF6-A5A6-8B39162684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8F4059EB-ECD2-4DF1-B750-544B3E0D814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6" name="Rectángulo 6175">
            <a:extLst>
              <a:ext uri="{FF2B5EF4-FFF2-40B4-BE49-F238E27FC236}">
                <a16:creationId xmlns:a16="http://schemas.microsoft.com/office/drawing/2014/main" id="{076D5F69-1658-4EBB-8383-397A2C4CE75D}"/>
              </a:ext>
            </a:extLst>
          </p:cNvPr>
          <p:cNvSpPr/>
          <p:nvPr/>
        </p:nvSpPr>
        <p:spPr>
          <a:xfrm>
            <a:off x="0" y="-36682"/>
            <a:ext cx="12214702" cy="2683845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任意多边形: 形状 16">
            <a:extLst>
              <a:ext uri="{FF2B5EF4-FFF2-40B4-BE49-F238E27FC236}">
                <a16:creationId xmlns:a16="http://schemas.microsoft.com/office/drawing/2014/main" id="{D656E303-73BB-46EC-9D6A-3B1D726C1B47}"/>
              </a:ext>
            </a:extLst>
          </p:cNvPr>
          <p:cNvSpPr/>
          <p:nvPr/>
        </p:nvSpPr>
        <p:spPr>
          <a:xfrm rot="10800000">
            <a:off x="27305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任意多边形: 形状 16">
            <a:extLst>
              <a:ext uri="{FF2B5EF4-FFF2-40B4-BE49-F238E27FC236}">
                <a16:creationId xmlns:a16="http://schemas.microsoft.com/office/drawing/2014/main" id="{69579464-48DF-4DA8-9476-97BA4DAEC85D}"/>
              </a:ext>
            </a:extLst>
          </p:cNvPr>
          <p:cNvSpPr/>
          <p:nvPr/>
        </p:nvSpPr>
        <p:spPr>
          <a:xfrm rot="10800000">
            <a:off x="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任意多边形: 形状 16">
            <a:extLst>
              <a:ext uri="{FF2B5EF4-FFF2-40B4-BE49-F238E27FC236}">
                <a16:creationId xmlns:a16="http://schemas.microsoft.com/office/drawing/2014/main" id="{06F7B187-CFFD-44FD-9604-4B4251A95831}"/>
              </a:ext>
            </a:extLst>
          </p:cNvPr>
          <p:cNvSpPr/>
          <p:nvPr/>
        </p:nvSpPr>
        <p:spPr>
          <a:xfrm rot="10800000">
            <a:off x="2746677" y="435430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任意多边形: 形状 16">
            <a:extLst>
              <a:ext uri="{FF2B5EF4-FFF2-40B4-BE49-F238E27FC236}">
                <a16:creationId xmlns:a16="http://schemas.microsoft.com/office/drawing/2014/main" id="{8A2B7F18-70A6-4057-A7F9-BE4B263C1839}"/>
              </a:ext>
            </a:extLst>
          </p:cNvPr>
          <p:cNvSpPr/>
          <p:nvPr/>
        </p:nvSpPr>
        <p:spPr>
          <a:xfrm rot="10800000">
            <a:off x="16177" y="435430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任意多边形: 形状 16">
            <a:extLst>
              <a:ext uri="{FF2B5EF4-FFF2-40B4-BE49-F238E27FC236}">
                <a16:creationId xmlns:a16="http://schemas.microsoft.com/office/drawing/2014/main" id="{D6C91D82-B655-4416-873F-C922B990BC67}"/>
              </a:ext>
            </a:extLst>
          </p:cNvPr>
          <p:cNvSpPr/>
          <p:nvPr/>
        </p:nvSpPr>
        <p:spPr>
          <a:xfrm rot="10800000">
            <a:off x="5477177" y="435430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任意多边形: 形状 16">
            <a:extLst>
              <a:ext uri="{FF2B5EF4-FFF2-40B4-BE49-F238E27FC236}">
                <a16:creationId xmlns:a16="http://schemas.microsoft.com/office/drawing/2014/main" id="{F64A8215-E58D-4647-A77C-AE0FE245749C}"/>
              </a:ext>
            </a:extLst>
          </p:cNvPr>
          <p:cNvSpPr/>
          <p:nvPr/>
        </p:nvSpPr>
        <p:spPr>
          <a:xfrm rot="10800000">
            <a:off x="8220377" y="435430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34912607-7FEC-4A50-9255-516B1E5C7874}"/>
              </a:ext>
            </a:extLst>
          </p:cNvPr>
          <p:cNvSpPr/>
          <p:nvPr/>
        </p:nvSpPr>
        <p:spPr>
          <a:xfrm rot="10800000">
            <a:off x="10963577" y="435430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34" name="任意多边形: 形状 16">
            <a:extLst>
              <a:ext uri="{FF2B5EF4-FFF2-40B4-BE49-F238E27FC236}">
                <a16:creationId xmlns:a16="http://schemas.microsoft.com/office/drawing/2014/main" id="{4EB23697-1BD1-4F74-AD80-112E5F93AD7F}"/>
              </a:ext>
            </a:extLst>
          </p:cNvPr>
          <p:cNvSpPr/>
          <p:nvPr/>
        </p:nvSpPr>
        <p:spPr>
          <a:xfrm rot="10800000">
            <a:off x="54610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任意多边形: 形状 16">
            <a:extLst>
              <a:ext uri="{FF2B5EF4-FFF2-40B4-BE49-F238E27FC236}">
                <a16:creationId xmlns:a16="http://schemas.microsoft.com/office/drawing/2014/main" id="{607D8253-545C-450A-8D5A-C3543E301EC9}"/>
              </a:ext>
            </a:extLst>
          </p:cNvPr>
          <p:cNvSpPr/>
          <p:nvPr/>
        </p:nvSpPr>
        <p:spPr>
          <a:xfrm rot="10800000">
            <a:off x="82042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EB5FB25-9CE7-4D62-9FA3-CEE6F0027E64}"/>
              </a:ext>
            </a:extLst>
          </p:cNvPr>
          <p:cNvSpPr/>
          <p:nvPr/>
        </p:nvSpPr>
        <p:spPr>
          <a:xfrm rot="10800000">
            <a:off x="10947400" y="2620391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4A9F48-504E-4605-83C4-31C77088CC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1" name="Freeform 46">
            <a:extLst>
              <a:ext uri="{FF2B5EF4-FFF2-40B4-BE49-F238E27FC236}">
                <a16:creationId xmlns:a16="http://schemas.microsoft.com/office/drawing/2014/main" id="{57B1EB1C-BC3A-4623-8B35-2D40B42B8BDC}"/>
              </a:ext>
            </a:extLst>
          </p:cNvPr>
          <p:cNvSpPr/>
          <p:nvPr/>
        </p:nvSpPr>
        <p:spPr>
          <a:xfrm>
            <a:off x="527958" y="1694997"/>
            <a:ext cx="2647042" cy="3978275"/>
          </a:xfrm>
          <a:prstGeom prst="roundRect">
            <a:avLst>
              <a:gd name="adj" fmla="val 3858"/>
            </a:avLst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Freeform 46">
            <a:extLst>
              <a:ext uri="{FF2B5EF4-FFF2-40B4-BE49-F238E27FC236}">
                <a16:creationId xmlns:a16="http://schemas.microsoft.com/office/drawing/2014/main" id="{153547F1-2215-4A3A-89B6-7AAA5245E765}"/>
              </a:ext>
            </a:extLst>
          </p:cNvPr>
          <p:cNvSpPr/>
          <p:nvPr/>
        </p:nvSpPr>
        <p:spPr>
          <a:xfrm>
            <a:off x="3368525" y="1694997"/>
            <a:ext cx="2647042" cy="3978275"/>
          </a:xfrm>
          <a:prstGeom prst="roundRect">
            <a:avLst>
              <a:gd name="adj" fmla="val 3858"/>
            </a:avLst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Freeform 46">
            <a:extLst>
              <a:ext uri="{FF2B5EF4-FFF2-40B4-BE49-F238E27FC236}">
                <a16:creationId xmlns:a16="http://schemas.microsoft.com/office/drawing/2014/main" id="{8A72CA8E-9C9F-4F12-BC40-68B45BB3D4A8}"/>
              </a:ext>
            </a:extLst>
          </p:cNvPr>
          <p:cNvSpPr/>
          <p:nvPr/>
        </p:nvSpPr>
        <p:spPr>
          <a:xfrm>
            <a:off x="6209092" y="1694997"/>
            <a:ext cx="2647042" cy="3978275"/>
          </a:xfrm>
          <a:prstGeom prst="roundRect">
            <a:avLst>
              <a:gd name="adj" fmla="val 4406"/>
            </a:avLst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Freeform 46">
            <a:extLst>
              <a:ext uri="{FF2B5EF4-FFF2-40B4-BE49-F238E27FC236}">
                <a16:creationId xmlns:a16="http://schemas.microsoft.com/office/drawing/2014/main" id="{A8BE8C5D-9B82-49CE-8118-FB302A67D958}"/>
              </a:ext>
            </a:extLst>
          </p:cNvPr>
          <p:cNvSpPr/>
          <p:nvPr/>
        </p:nvSpPr>
        <p:spPr>
          <a:xfrm>
            <a:off x="9049658" y="1694997"/>
            <a:ext cx="2647042" cy="3978275"/>
          </a:xfrm>
          <a:prstGeom prst="roundRect">
            <a:avLst>
              <a:gd name="adj" fmla="val 3858"/>
            </a:avLst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83A6C93E-7231-439D-91F1-E396494F51BE}"/>
              </a:ext>
            </a:extLst>
          </p:cNvPr>
          <p:cNvSpPr txBox="1">
            <a:spLocks/>
          </p:cNvSpPr>
          <p:nvPr/>
        </p:nvSpPr>
        <p:spPr>
          <a:xfrm>
            <a:off x="715283" y="3669477"/>
            <a:ext cx="2261753" cy="833716"/>
          </a:xfrm>
          <a:prstGeom prst="rect">
            <a:avLst/>
          </a:prstGeom>
          <a:noFill/>
        </p:spPr>
        <p:txBody>
          <a:bodyPr vert="horz" lIns="0" tIns="72000" rIns="0" bIns="72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Big:</a:t>
            </a:r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id="{756E4FF5-D90D-4B20-B7CA-614D0129910E}"/>
              </a:ext>
            </a:extLst>
          </p:cNvPr>
          <p:cNvSpPr txBox="1">
            <a:spLocks/>
          </p:cNvSpPr>
          <p:nvPr/>
        </p:nvSpPr>
        <p:spPr>
          <a:xfrm>
            <a:off x="3561170" y="3669477"/>
            <a:ext cx="2261753" cy="833716"/>
          </a:xfrm>
          <a:prstGeom prst="rect">
            <a:avLst/>
          </a:prstGeom>
          <a:noFill/>
        </p:spPr>
        <p:txBody>
          <a:bodyPr vert="horz" lIns="0" tIns="72000" rIns="0" bIns="72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Back:</a:t>
            </a: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51CB6FE0-5102-4CCD-A615-5BC6C5982B26}"/>
              </a:ext>
            </a:extLst>
          </p:cNvPr>
          <p:cNvSpPr txBox="1">
            <a:spLocks/>
          </p:cNvSpPr>
          <p:nvPr/>
        </p:nvSpPr>
        <p:spPr>
          <a:xfrm>
            <a:off x="6401737" y="3669477"/>
            <a:ext cx="2261753" cy="833716"/>
          </a:xfrm>
          <a:prstGeom prst="rect">
            <a:avLst/>
          </a:prstGeom>
          <a:noFill/>
        </p:spPr>
        <p:txBody>
          <a:bodyPr vert="horz" lIns="0" tIns="72000" rIns="0" bIns="72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Large:</a:t>
            </a:r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ED5B2990-76C7-4C50-BB2B-F2F1B3CB4008}"/>
              </a:ext>
            </a:extLst>
          </p:cNvPr>
          <p:cNvSpPr txBox="1">
            <a:spLocks/>
          </p:cNvSpPr>
          <p:nvPr/>
        </p:nvSpPr>
        <p:spPr>
          <a:xfrm>
            <a:off x="9242303" y="3669477"/>
            <a:ext cx="2261753" cy="833716"/>
          </a:xfrm>
          <a:prstGeom prst="rect">
            <a:avLst/>
          </a:prstGeom>
          <a:noFill/>
        </p:spPr>
        <p:txBody>
          <a:bodyPr vert="horz" lIns="0" tIns="72000" rIns="0" bIns="72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Big:</a:t>
            </a:r>
            <a:endParaRPr lang="en-US" sz="1600" i="1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cs typeface="AkayaKanadaka" panose="02010502080401010103" pitchFamily="2" charset="77"/>
            </a:endParaRPr>
          </a:p>
        </p:txBody>
      </p:sp>
      <p:sp>
        <p:nvSpPr>
          <p:cNvPr id="37" name="Rectángulo 6175">
            <a:extLst>
              <a:ext uri="{FF2B5EF4-FFF2-40B4-BE49-F238E27FC236}">
                <a16:creationId xmlns:a16="http://schemas.microsoft.com/office/drawing/2014/main" id="{B6F273BA-F0F8-40A3-A56B-4B810758B9C9}"/>
              </a:ext>
            </a:extLst>
          </p:cNvPr>
          <p:cNvSpPr/>
          <p:nvPr/>
        </p:nvSpPr>
        <p:spPr>
          <a:xfrm>
            <a:off x="0" y="-72561"/>
            <a:ext cx="12214702" cy="507989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68648313-D7E0-4F54-8EFE-9DF35C5E312B}"/>
              </a:ext>
            </a:extLst>
          </p:cNvPr>
          <p:cNvSpPr txBox="1">
            <a:spLocks/>
          </p:cNvSpPr>
          <p:nvPr/>
        </p:nvSpPr>
        <p:spPr>
          <a:xfrm>
            <a:off x="720600" y="1440315"/>
            <a:ext cx="2261758" cy="51129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ngth</a:t>
            </a: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F54C35F7-2A3B-4524-B020-70D812330005}"/>
              </a:ext>
            </a:extLst>
          </p:cNvPr>
          <p:cNvSpPr txBox="1">
            <a:spLocks/>
          </p:cNvSpPr>
          <p:nvPr/>
        </p:nvSpPr>
        <p:spPr>
          <a:xfrm>
            <a:off x="3561167" y="1440315"/>
            <a:ext cx="2261758" cy="51129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ad Distribution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982617E-18CC-4E44-BC8D-831C1BB9ABCB}"/>
              </a:ext>
            </a:extLst>
          </p:cNvPr>
          <p:cNvSpPr txBox="1">
            <a:spLocks/>
          </p:cNvSpPr>
          <p:nvPr/>
        </p:nvSpPr>
        <p:spPr>
          <a:xfrm>
            <a:off x="6401734" y="1440315"/>
            <a:ext cx="2261758" cy="51129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idth (Axle)</a:t>
            </a:r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9380F849-8C40-400E-B454-E39E21CAABF1}"/>
              </a:ext>
            </a:extLst>
          </p:cNvPr>
          <p:cNvSpPr txBox="1">
            <a:spLocks/>
          </p:cNvSpPr>
          <p:nvPr/>
        </p:nvSpPr>
        <p:spPr>
          <a:xfrm>
            <a:off x="9242300" y="1440315"/>
            <a:ext cx="2261758" cy="51129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yre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ze</a:t>
            </a: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34CDEE71-58AF-4363-81E3-057DADAD240E}"/>
              </a:ext>
            </a:extLst>
          </p:cNvPr>
          <p:cNvSpPr txBox="1">
            <a:spLocks/>
          </p:cNvSpPr>
          <p:nvPr/>
        </p:nvSpPr>
        <p:spPr>
          <a:xfrm>
            <a:off x="715283" y="2082239"/>
            <a:ext cx="2261753" cy="13600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Small:</a:t>
            </a: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76D675F5-87B3-49F4-B5FA-9BC05E52191D}"/>
              </a:ext>
            </a:extLst>
          </p:cNvPr>
          <p:cNvSpPr txBox="1">
            <a:spLocks/>
          </p:cNvSpPr>
          <p:nvPr/>
        </p:nvSpPr>
        <p:spPr>
          <a:xfrm>
            <a:off x="3561170" y="2082239"/>
            <a:ext cx="2261753" cy="13600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Front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:</a:t>
            </a: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F2FD5DE1-0AD3-4291-8C37-650033D7B5DA}"/>
              </a:ext>
            </a:extLst>
          </p:cNvPr>
          <p:cNvSpPr txBox="1">
            <a:spLocks/>
          </p:cNvSpPr>
          <p:nvPr/>
        </p:nvSpPr>
        <p:spPr>
          <a:xfrm>
            <a:off x="6401737" y="2082239"/>
            <a:ext cx="2261753" cy="13600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Small:</a:t>
            </a: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5EE9CB16-7562-4F77-A765-DB3474B2D0B8}"/>
              </a:ext>
            </a:extLst>
          </p:cNvPr>
          <p:cNvSpPr txBox="1">
            <a:spLocks/>
          </p:cNvSpPr>
          <p:nvPr/>
        </p:nvSpPr>
        <p:spPr>
          <a:xfrm>
            <a:off x="9242303" y="2082239"/>
            <a:ext cx="2261753" cy="13600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Small: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01D6886-63B1-4066-99B8-0D6094F8C281}"/>
              </a:ext>
            </a:extLst>
          </p:cNvPr>
          <p:cNvCxnSpPr>
            <a:cxnSpLocks/>
          </p:cNvCxnSpPr>
          <p:nvPr/>
        </p:nvCxnSpPr>
        <p:spPr>
          <a:xfrm>
            <a:off x="723324" y="3538846"/>
            <a:ext cx="225631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58F25ED6-5E19-4CAA-9DF0-2604D398DD26}"/>
              </a:ext>
            </a:extLst>
          </p:cNvPr>
          <p:cNvCxnSpPr>
            <a:cxnSpLocks/>
          </p:cNvCxnSpPr>
          <p:nvPr/>
        </p:nvCxnSpPr>
        <p:spPr>
          <a:xfrm>
            <a:off x="3563891" y="3538846"/>
            <a:ext cx="225631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E7BB277-49F0-4F29-AC56-E3102BA77201}"/>
              </a:ext>
            </a:extLst>
          </p:cNvPr>
          <p:cNvCxnSpPr>
            <a:cxnSpLocks/>
          </p:cNvCxnSpPr>
          <p:nvPr/>
        </p:nvCxnSpPr>
        <p:spPr>
          <a:xfrm>
            <a:off x="6404458" y="3538846"/>
            <a:ext cx="225631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952F09CF-9FC7-4D58-8564-D94CF2917BB0}"/>
              </a:ext>
            </a:extLst>
          </p:cNvPr>
          <p:cNvCxnSpPr>
            <a:cxnSpLocks/>
          </p:cNvCxnSpPr>
          <p:nvPr/>
        </p:nvCxnSpPr>
        <p:spPr>
          <a:xfrm>
            <a:off x="9245024" y="3538846"/>
            <a:ext cx="225631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DF8767CE-52FF-2137-AFA8-42C0911E15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1921" y="43675"/>
            <a:ext cx="3389101" cy="111768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75643EA-A2BF-898F-4146-88DB0314C95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9106" y="2322104"/>
            <a:ext cx="2344062" cy="101042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F05A06C-9355-7E49-2DBE-ACF0B20714F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2002" y="4057652"/>
            <a:ext cx="2308313" cy="136003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29F2948-49DF-41BC-3CBE-46FB15E20F6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87723" y="4086335"/>
            <a:ext cx="2308313" cy="136003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83175A8-36C9-CD7D-4399-3FD9C2B6A1C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92126" y="2348167"/>
            <a:ext cx="2130255" cy="9950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378BD2F-9600-8253-6437-5A031BD47CA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215065" y="4082916"/>
            <a:ext cx="2344858" cy="129496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FA4F0AC-CA57-6C02-8B51-911A4AB19AE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206259" y="2292513"/>
            <a:ext cx="2270458" cy="100085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2AEA069-93DA-B484-C9E5-B8E57080FCA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009186" y="2121588"/>
            <a:ext cx="1248835" cy="128133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1389713-2FC3-4AB0-E28C-B717B4E5916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009186" y="3866631"/>
            <a:ext cx="1373820" cy="1661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7190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404ABF-311B-4C82-86A1-8C2F926F51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2404ABF-311B-4C82-86A1-8C2F926F51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CBC95CE5-6B46-4749-8037-32F37DFED6D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4" name="Freeform 46">
            <a:extLst>
              <a:ext uri="{FF2B5EF4-FFF2-40B4-BE49-F238E27FC236}">
                <a16:creationId xmlns:a16="http://schemas.microsoft.com/office/drawing/2014/main" id="{B47F8AEC-0526-4A86-A53A-BDDC597416CE}"/>
              </a:ext>
            </a:extLst>
          </p:cNvPr>
          <p:cNvSpPr/>
          <p:nvPr/>
        </p:nvSpPr>
        <p:spPr>
          <a:xfrm>
            <a:off x="7965663" y="3041000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Freeform 46">
            <a:extLst>
              <a:ext uri="{FF2B5EF4-FFF2-40B4-BE49-F238E27FC236}">
                <a16:creationId xmlns:a16="http://schemas.microsoft.com/office/drawing/2014/main" id="{D0E50AF2-0884-4E4A-B3F8-055FAD6842F5}"/>
              </a:ext>
            </a:extLst>
          </p:cNvPr>
          <p:cNvSpPr/>
          <p:nvPr/>
        </p:nvSpPr>
        <p:spPr>
          <a:xfrm>
            <a:off x="7852817" y="4241543"/>
            <a:ext cx="2390759" cy="77661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Freeform 46">
            <a:extLst>
              <a:ext uri="{FF2B5EF4-FFF2-40B4-BE49-F238E27FC236}">
                <a16:creationId xmlns:a16="http://schemas.microsoft.com/office/drawing/2014/main" id="{DC3678E8-E328-4F87-817A-3696F6E2EB7A}"/>
              </a:ext>
            </a:extLst>
          </p:cNvPr>
          <p:cNvSpPr/>
          <p:nvPr/>
        </p:nvSpPr>
        <p:spPr>
          <a:xfrm>
            <a:off x="6825248" y="5496147"/>
            <a:ext cx="2222949" cy="79179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Randomization</a:t>
            </a:r>
          </a:p>
        </p:txBody>
      </p:sp>
      <p:sp>
        <p:nvSpPr>
          <p:cNvPr id="13" name="任意多边形: 形状 16">
            <a:extLst>
              <a:ext uri="{FF2B5EF4-FFF2-40B4-BE49-F238E27FC236}">
                <a16:creationId xmlns:a16="http://schemas.microsoft.com/office/drawing/2014/main" id="{D794E18D-9977-46BD-8B0A-01B80EF9FD2A}"/>
              </a:ext>
            </a:extLst>
          </p:cNvPr>
          <p:cNvSpPr/>
          <p:nvPr/>
        </p:nvSpPr>
        <p:spPr>
          <a:xfrm rot="5400000" flipH="1">
            <a:off x="459329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任意多边形: 形状 16">
            <a:extLst>
              <a:ext uri="{FF2B5EF4-FFF2-40B4-BE49-F238E27FC236}">
                <a16:creationId xmlns:a16="http://schemas.microsoft.com/office/drawing/2014/main" id="{4B120BF0-97E1-4511-B539-159342009EB6}"/>
              </a:ext>
            </a:extLst>
          </p:cNvPr>
          <p:cNvSpPr/>
          <p:nvPr/>
        </p:nvSpPr>
        <p:spPr>
          <a:xfrm rot="5400000" flipH="1">
            <a:off x="459329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Rectángulo 6175">
            <a:extLst>
              <a:ext uri="{FF2B5EF4-FFF2-40B4-BE49-F238E27FC236}">
                <a16:creationId xmlns:a16="http://schemas.microsoft.com/office/drawing/2014/main" id="{084BFAB7-1E03-4EB2-8CCE-0C5CACEA3CC1}"/>
              </a:ext>
            </a:extLst>
          </p:cNvPr>
          <p:cNvSpPr/>
          <p:nvPr/>
        </p:nvSpPr>
        <p:spPr>
          <a:xfrm>
            <a:off x="1" y="0"/>
            <a:ext cx="5545550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任意多边形: 形状 16">
            <a:extLst>
              <a:ext uri="{FF2B5EF4-FFF2-40B4-BE49-F238E27FC236}">
                <a16:creationId xmlns:a16="http://schemas.microsoft.com/office/drawing/2014/main" id="{E4B93134-654E-4019-A634-7D3215DB38CD}"/>
              </a:ext>
            </a:extLst>
          </p:cNvPr>
          <p:cNvSpPr/>
          <p:nvPr/>
        </p:nvSpPr>
        <p:spPr>
          <a:xfrm rot="5400000" flipH="1">
            <a:off x="4255769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任意多边形: 形状 16">
            <a:extLst>
              <a:ext uri="{FF2B5EF4-FFF2-40B4-BE49-F238E27FC236}">
                <a16:creationId xmlns:a16="http://schemas.microsoft.com/office/drawing/2014/main" id="{5554B1C5-6BA6-45C1-B78B-5EFC720BF1CD}"/>
              </a:ext>
            </a:extLst>
          </p:cNvPr>
          <p:cNvSpPr/>
          <p:nvPr/>
        </p:nvSpPr>
        <p:spPr>
          <a:xfrm rot="5400000" flipH="1">
            <a:off x="4255769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FDC3C6D-99CD-4029-A4B2-66084947B1BB}"/>
              </a:ext>
            </a:extLst>
          </p:cNvPr>
          <p:cNvSpPr/>
          <p:nvPr/>
        </p:nvSpPr>
        <p:spPr>
          <a:xfrm>
            <a:off x="3671283" y="964355"/>
            <a:ext cx="4891314" cy="4891314"/>
          </a:xfrm>
          <a:prstGeom prst="ellipse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Arc 26">
            <a:extLst>
              <a:ext uri="{FF2B5EF4-FFF2-40B4-BE49-F238E27FC236}">
                <a16:creationId xmlns:a16="http://schemas.microsoft.com/office/drawing/2014/main" id="{293895EF-F846-482A-9164-DAB9FF74888E}"/>
              </a:ext>
            </a:extLst>
          </p:cNvPr>
          <p:cNvSpPr/>
          <p:nvPr/>
        </p:nvSpPr>
        <p:spPr>
          <a:xfrm>
            <a:off x="3933187" y="1176400"/>
            <a:ext cx="4467224" cy="4467224"/>
          </a:xfrm>
          <a:prstGeom prst="arc">
            <a:avLst>
              <a:gd name="adj1" fmla="val 14589245"/>
              <a:gd name="adj2" fmla="val 11716576"/>
            </a:avLst>
          </a:prstGeom>
          <a:ln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FBDDD12-3C77-42DB-8FC3-015BD08CFBC9}"/>
              </a:ext>
            </a:extLst>
          </p:cNvPr>
          <p:cNvGrpSpPr/>
          <p:nvPr/>
        </p:nvGrpSpPr>
        <p:grpSpPr>
          <a:xfrm>
            <a:off x="7936722" y="2857192"/>
            <a:ext cx="971518" cy="971518"/>
            <a:chOff x="7187500" y="839949"/>
            <a:chExt cx="1422400" cy="142240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17557160-3B88-4BD6-9B6B-2EB953316367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6965462A-E6F0-45F8-B9C4-B22E3BB15E7A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EE1CABC-4ED7-444D-AE75-BCE325B91580}"/>
              </a:ext>
            </a:extLst>
          </p:cNvPr>
          <p:cNvGrpSpPr/>
          <p:nvPr/>
        </p:nvGrpSpPr>
        <p:grpSpPr>
          <a:xfrm>
            <a:off x="6115634" y="5341883"/>
            <a:ext cx="971518" cy="971518"/>
            <a:chOff x="7187500" y="839949"/>
            <a:chExt cx="1422400" cy="142240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B5B7F71-CE1F-41E1-9696-A6D450502C82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547A7379-3B63-47B1-A78C-F06AD7855627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99B3873-668D-43B5-9506-34B08AD24C4A}"/>
              </a:ext>
            </a:extLst>
          </p:cNvPr>
          <p:cNvGrpSpPr/>
          <p:nvPr/>
        </p:nvGrpSpPr>
        <p:grpSpPr>
          <a:xfrm>
            <a:off x="7657686" y="4152535"/>
            <a:ext cx="971518" cy="971518"/>
            <a:chOff x="7187500" y="839949"/>
            <a:chExt cx="1422400" cy="14224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FC6A1AEC-37B7-4291-B20C-58B8E0F6586B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12DEC58-618B-45F5-9FE7-3128DCC314BD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246F018F-2061-4376-B7CA-EA7870C7DF33}"/>
              </a:ext>
            </a:extLst>
          </p:cNvPr>
          <p:cNvSpPr txBox="1">
            <a:spLocks/>
          </p:cNvSpPr>
          <p:nvPr/>
        </p:nvSpPr>
        <p:spPr>
          <a:xfrm>
            <a:off x="8953729" y="3179445"/>
            <a:ext cx="1061883" cy="49364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Type Design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A4781CB8-6941-4A5A-B54F-1F881A26A730}"/>
              </a:ext>
            </a:extLst>
          </p:cNvPr>
          <p:cNvSpPr txBox="1">
            <a:spLocks/>
          </p:cNvSpPr>
          <p:nvPr/>
        </p:nvSpPr>
        <p:spPr>
          <a:xfrm>
            <a:off x="8177684" y="5086235"/>
            <a:ext cx="818269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18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AB2ACD1-6140-4842-BC3E-5D762A5714D4}"/>
              </a:ext>
            </a:extLst>
          </p:cNvPr>
          <p:cNvSpPr txBox="1">
            <a:spLocks/>
          </p:cNvSpPr>
          <p:nvPr/>
        </p:nvSpPr>
        <p:spPr>
          <a:xfrm>
            <a:off x="8666678" y="4282307"/>
            <a:ext cx="1482003" cy="67043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Replication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C8A0FE49-A2E6-4288-95C1-416B721FE671}"/>
              </a:ext>
            </a:extLst>
          </p:cNvPr>
          <p:cNvSpPr txBox="1">
            <a:spLocks/>
          </p:cNvSpPr>
          <p:nvPr/>
        </p:nvSpPr>
        <p:spPr>
          <a:xfrm>
            <a:off x="10101524" y="2857633"/>
            <a:ext cx="1989601" cy="122611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2^4 full factorial design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4C541DA1-3474-448E-85B7-DCDCAB60D849}"/>
              </a:ext>
            </a:extLst>
          </p:cNvPr>
          <p:cNvSpPr txBox="1">
            <a:spLocks/>
          </p:cNvSpPr>
          <p:nvPr/>
        </p:nvSpPr>
        <p:spPr>
          <a:xfrm>
            <a:off x="10429541" y="4083750"/>
            <a:ext cx="1333566" cy="121351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Run 3 replications to reduce noise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4D0DD9E9-8C48-41FB-81FC-E16539A15F21}"/>
              </a:ext>
            </a:extLst>
          </p:cNvPr>
          <p:cNvSpPr txBox="1">
            <a:spLocks/>
          </p:cNvSpPr>
          <p:nvPr/>
        </p:nvSpPr>
        <p:spPr>
          <a:xfrm>
            <a:off x="9212040" y="5383680"/>
            <a:ext cx="1989601" cy="104140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Randomized run order from Minitab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22ED8AD-AED4-42BC-AACE-20BBBC45C718}"/>
              </a:ext>
            </a:extLst>
          </p:cNvPr>
          <p:cNvCxnSpPr/>
          <p:nvPr/>
        </p:nvCxnSpPr>
        <p:spPr>
          <a:xfrm>
            <a:off x="8680862" y="2410691"/>
            <a:ext cx="305195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84E2044-D88D-4B2F-BFB6-D4D8F0C7B05B}"/>
              </a:ext>
            </a:extLst>
          </p:cNvPr>
          <p:cNvGrpSpPr/>
          <p:nvPr/>
        </p:nvGrpSpPr>
        <p:grpSpPr>
          <a:xfrm>
            <a:off x="8275155" y="3199379"/>
            <a:ext cx="336080" cy="292993"/>
            <a:chOff x="1216026" y="5511800"/>
            <a:chExt cx="681038" cy="593725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58" name="Freeform 437">
              <a:extLst>
                <a:ext uri="{FF2B5EF4-FFF2-40B4-BE49-F238E27FC236}">
                  <a16:creationId xmlns:a16="http://schemas.microsoft.com/office/drawing/2014/main" id="{0A4487A2-573C-4F43-986C-9D98A08D1F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511800"/>
              <a:ext cx="681038" cy="593725"/>
            </a:xfrm>
            <a:custGeom>
              <a:avLst/>
              <a:gdLst>
                <a:gd name="T0" fmla="*/ 245 w 429"/>
                <a:gd name="T1" fmla="*/ 0 h 374"/>
                <a:gd name="T2" fmla="*/ 0 w 429"/>
                <a:gd name="T3" fmla="*/ 90 h 374"/>
                <a:gd name="T4" fmla="*/ 0 w 429"/>
                <a:gd name="T5" fmla="*/ 281 h 374"/>
                <a:gd name="T6" fmla="*/ 183 w 429"/>
                <a:gd name="T7" fmla="*/ 374 h 374"/>
                <a:gd name="T8" fmla="*/ 429 w 429"/>
                <a:gd name="T9" fmla="*/ 281 h 374"/>
                <a:gd name="T10" fmla="*/ 429 w 429"/>
                <a:gd name="T11" fmla="*/ 90 h 374"/>
                <a:gd name="T12" fmla="*/ 245 w 429"/>
                <a:gd name="T13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9" h="374">
                  <a:moveTo>
                    <a:pt x="245" y="0"/>
                  </a:moveTo>
                  <a:lnTo>
                    <a:pt x="0" y="90"/>
                  </a:lnTo>
                  <a:lnTo>
                    <a:pt x="0" y="281"/>
                  </a:lnTo>
                  <a:lnTo>
                    <a:pt x="183" y="374"/>
                  </a:lnTo>
                  <a:lnTo>
                    <a:pt x="429" y="281"/>
                  </a:lnTo>
                  <a:lnTo>
                    <a:pt x="429" y="90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Freeform 438">
              <a:extLst>
                <a:ext uri="{FF2B5EF4-FFF2-40B4-BE49-F238E27FC236}">
                  <a16:creationId xmlns:a16="http://schemas.microsoft.com/office/drawing/2014/main" id="{DFCC6E98-013A-4C08-B399-60D44CE74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654675"/>
              <a:ext cx="390525" cy="450850"/>
            </a:xfrm>
            <a:custGeom>
              <a:avLst/>
              <a:gdLst>
                <a:gd name="T0" fmla="*/ 246 w 246"/>
                <a:gd name="T1" fmla="*/ 191 h 284"/>
                <a:gd name="T2" fmla="*/ 0 w 246"/>
                <a:gd name="T3" fmla="*/ 284 h 284"/>
                <a:gd name="T4" fmla="*/ 0 w 246"/>
                <a:gd name="T5" fmla="*/ 93 h 284"/>
                <a:gd name="T6" fmla="*/ 246 w 246"/>
                <a:gd name="T7" fmla="*/ 0 h 284"/>
                <a:gd name="T8" fmla="*/ 246 w 246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84">
                  <a:moveTo>
                    <a:pt x="246" y="191"/>
                  </a:moveTo>
                  <a:lnTo>
                    <a:pt x="0" y="284"/>
                  </a:lnTo>
                  <a:lnTo>
                    <a:pt x="0" y="93"/>
                  </a:lnTo>
                  <a:lnTo>
                    <a:pt x="246" y="0"/>
                  </a:lnTo>
                  <a:lnTo>
                    <a:pt x="246" y="191"/>
                  </a:ln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Freeform 439">
              <a:extLst>
                <a:ext uri="{FF2B5EF4-FFF2-40B4-BE49-F238E27FC236}">
                  <a16:creationId xmlns:a16="http://schemas.microsoft.com/office/drawing/2014/main" id="{6E852949-DA86-424A-8FA2-113ABD0CC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654675"/>
              <a:ext cx="290513" cy="450850"/>
            </a:xfrm>
            <a:custGeom>
              <a:avLst/>
              <a:gdLst>
                <a:gd name="T0" fmla="*/ 0 w 183"/>
                <a:gd name="T1" fmla="*/ 191 h 284"/>
                <a:gd name="T2" fmla="*/ 183 w 183"/>
                <a:gd name="T3" fmla="*/ 284 h 284"/>
                <a:gd name="T4" fmla="*/ 183 w 183"/>
                <a:gd name="T5" fmla="*/ 93 h 284"/>
                <a:gd name="T6" fmla="*/ 0 w 183"/>
                <a:gd name="T7" fmla="*/ 0 h 284"/>
                <a:gd name="T8" fmla="*/ 0 w 183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84">
                  <a:moveTo>
                    <a:pt x="0" y="191"/>
                  </a:moveTo>
                  <a:lnTo>
                    <a:pt x="183" y="284"/>
                  </a:lnTo>
                  <a:lnTo>
                    <a:pt x="183" y="93"/>
                  </a:lnTo>
                  <a:lnTo>
                    <a:pt x="0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440">
              <a:extLst>
                <a:ext uri="{FF2B5EF4-FFF2-40B4-BE49-F238E27FC236}">
                  <a16:creationId xmlns:a16="http://schemas.microsoft.com/office/drawing/2014/main" id="{94E543AD-72C3-41EB-9366-18920D3E7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6" y="5681663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2 h 19"/>
                <a:gd name="T4" fmla="*/ 20 w 39"/>
                <a:gd name="T5" fmla="*/ 19 h 19"/>
                <a:gd name="T6" fmla="*/ 0 w 39"/>
                <a:gd name="T7" fmla="*/ 12 h 19"/>
                <a:gd name="T8" fmla="*/ 0 w 39"/>
                <a:gd name="T9" fmla="*/ 0 h 19"/>
                <a:gd name="T10" fmla="*/ 20 w 39"/>
                <a:gd name="T11" fmla="*/ 6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6"/>
                    <a:pt x="30" y="19"/>
                    <a:pt x="20" y="19"/>
                  </a:cubicBezTo>
                  <a:cubicBezTo>
                    <a:pt x="9" y="19"/>
                    <a:pt x="0" y="16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9" y="6"/>
                    <a:pt x="20" y="6"/>
                  </a:cubicBezTo>
                  <a:cubicBezTo>
                    <a:pt x="30" y="6"/>
                    <a:pt x="39" y="3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Oval 441">
              <a:extLst>
                <a:ext uri="{FF2B5EF4-FFF2-40B4-BE49-F238E27FC236}">
                  <a16:creationId xmlns:a16="http://schemas.microsoft.com/office/drawing/2014/main" id="{13D38C20-3A27-4AD7-8BF7-B786142E4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326" y="5654675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Freeform 442">
              <a:extLst>
                <a:ext uri="{FF2B5EF4-FFF2-40B4-BE49-F238E27FC236}">
                  <a16:creationId xmlns:a16="http://schemas.microsoft.com/office/drawing/2014/main" id="{9AD04A53-1710-4EB6-9AB9-D044C3485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451" y="5605463"/>
              <a:ext cx="142875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30" y="20"/>
                    <a:pt x="19" y="20"/>
                  </a:cubicBezTo>
                  <a:cubicBezTo>
                    <a:pt x="9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Oval 443">
              <a:extLst>
                <a:ext uri="{FF2B5EF4-FFF2-40B4-BE49-F238E27FC236}">
                  <a16:creationId xmlns:a16="http://schemas.microsoft.com/office/drawing/2014/main" id="{9E16199A-699E-4B5E-B84A-52CA293C0C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51" y="5583238"/>
              <a:ext cx="142875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444">
              <a:extLst>
                <a:ext uri="{FF2B5EF4-FFF2-40B4-BE49-F238E27FC236}">
                  <a16:creationId xmlns:a16="http://schemas.microsoft.com/office/drawing/2014/main" id="{7D472713-64D7-41CA-A289-C9B712817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534025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3 h 19"/>
                <a:gd name="T4" fmla="*/ 19 w 39"/>
                <a:gd name="T5" fmla="*/ 19 h 19"/>
                <a:gd name="T6" fmla="*/ 0 w 39"/>
                <a:gd name="T7" fmla="*/ 13 h 19"/>
                <a:gd name="T8" fmla="*/ 0 w 39"/>
                <a:gd name="T9" fmla="*/ 0 h 19"/>
                <a:gd name="T10" fmla="*/ 19 w 39"/>
                <a:gd name="T11" fmla="*/ 7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3"/>
                    <a:pt x="39" y="13"/>
                    <a:pt x="39" y="13"/>
                  </a:cubicBezTo>
                  <a:cubicBezTo>
                    <a:pt x="39" y="17"/>
                    <a:pt x="30" y="19"/>
                    <a:pt x="19" y="19"/>
                  </a:cubicBezTo>
                  <a:cubicBezTo>
                    <a:pt x="9" y="19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9" y="4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Oval 445">
              <a:extLst>
                <a:ext uri="{FF2B5EF4-FFF2-40B4-BE49-F238E27FC236}">
                  <a16:creationId xmlns:a16="http://schemas.microsoft.com/office/drawing/2014/main" id="{15B75979-837A-4A22-BE57-A7B02A0FFC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6538" y="5511800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Freeform 446">
              <a:extLst>
                <a:ext uri="{FF2B5EF4-FFF2-40B4-BE49-F238E27FC236}">
                  <a16:creationId xmlns:a16="http://schemas.microsoft.com/office/drawing/2014/main" id="{0AD5E430-A826-4820-B5B6-B238B283D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176" y="5605463"/>
              <a:ext cx="144463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29" y="20"/>
                    <a:pt x="19" y="20"/>
                  </a:cubicBezTo>
                  <a:cubicBezTo>
                    <a:pt x="8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8" y="7"/>
                    <a:pt x="19" y="7"/>
                  </a:cubicBezTo>
                  <a:cubicBezTo>
                    <a:pt x="29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Oval 447">
              <a:extLst>
                <a:ext uri="{FF2B5EF4-FFF2-40B4-BE49-F238E27FC236}">
                  <a16:creationId xmlns:a16="http://schemas.microsoft.com/office/drawing/2014/main" id="{14F9E393-61F4-41FC-9654-337D5698A6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176" y="5583238"/>
              <a:ext cx="144463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4" name="Slide Number Placeholder 93">
            <a:extLst>
              <a:ext uri="{FF2B5EF4-FFF2-40B4-BE49-F238E27FC236}">
                <a16:creationId xmlns:a16="http://schemas.microsoft.com/office/drawing/2014/main" id="{ECB8D3FA-85B0-4687-9A60-D54F9B1A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776E352-5AB3-7B6F-5C65-D6004419D52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2540" y="19138"/>
            <a:ext cx="3019631" cy="1208464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48FD2A24-EBE7-D96B-AA7E-F3475653C3F6}"/>
              </a:ext>
            </a:extLst>
          </p:cNvPr>
          <p:cNvGrpSpPr/>
          <p:nvPr/>
        </p:nvGrpSpPr>
        <p:grpSpPr>
          <a:xfrm>
            <a:off x="3936399" y="1543772"/>
            <a:ext cx="336080" cy="292993"/>
            <a:chOff x="1216026" y="5511800"/>
            <a:chExt cx="681038" cy="593725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30" name="Freeform 437">
              <a:extLst>
                <a:ext uri="{FF2B5EF4-FFF2-40B4-BE49-F238E27FC236}">
                  <a16:creationId xmlns:a16="http://schemas.microsoft.com/office/drawing/2014/main" id="{DF522B96-AA1E-FF69-8751-44C5652412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511800"/>
              <a:ext cx="681038" cy="593725"/>
            </a:xfrm>
            <a:custGeom>
              <a:avLst/>
              <a:gdLst>
                <a:gd name="T0" fmla="*/ 245 w 429"/>
                <a:gd name="T1" fmla="*/ 0 h 374"/>
                <a:gd name="T2" fmla="*/ 0 w 429"/>
                <a:gd name="T3" fmla="*/ 90 h 374"/>
                <a:gd name="T4" fmla="*/ 0 w 429"/>
                <a:gd name="T5" fmla="*/ 281 h 374"/>
                <a:gd name="T6" fmla="*/ 183 w 429"/>
                <a:gd name="T7" fmla="*/ 374 h 374"/>
                <a:gd name="T8" fmla="*/ 429 w 429"/>
                <a:gd name="T9" fmla="*/ 281 h 374"/>
                <a:gd name="T10" fmla="*/ 429 w 429"/>
                <a:gd name="T11" fmla="*/ 90 h 374"/>
                <a:gd name="T12" fmla="*/ 245 w 429"/>
                <a:gd name="T13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9" h="374">
                  <a:moveTo>
                    <a:pt x="245" y="0"/>
                  </a:moveTo>
                  <a:lnTo>
                    <a:pt x="0" y="90"/>
                  </a:lnTo>
                  <a:lnTo>
                    <a:pt x="0" y="281"/>
                  </a:lnTo>
                  <a:lnTo>
                    <a:pt x="183" y="374"/>
                  </a:lnTo>
                  <a:lnTo>
                    <a:pt x="429" y="281"/>
                  </a:lnTo>
                  <a:lnTo>
                    <a:pt x="429" y="90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438">
              <a:extLst>
                <a:ext uri="{FF2B5EF4-FFF2-40B4-BE49-F238E27FC236}">
                  <a16:creationId xmlns:a16="http://schemas.microsoft.com/office/drawing/2014/main" id="{1B41263B-C703-6884-0065-ABE6D5779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654675"/>
              <a:ext cx="390525" cy="450850"/>
            </a:xfrm>
            <a:custGeom>
              <a:avLst/>
              <a:gdLst>
                <a:gd name="T0" fmla="*/ 246 w 246"/>
                <a:gd name="T1" fmla="*/ 191 h 284"/>
                <a:gd name="T2" fmla="*/ 0 w 246"/>
                <a:gd name="T3" fmla="*/ 284 h 284"/>
                <a:gd name="T4" fmla="*/ 0 w 246"/>
                <a:gd name="T5" fmla="*/ 93 h 284"/>
                <a:gd name="T6" fmla="*/ 246 w 246"/>
                <a:gd name="T7" fmla="*/ 0 h 284"/>
                <a:gd name="T8" fmla="*/ 246 w 246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84">
                  <a:moveTo>
                    <a:pt x="246" y="191"/>
                  </a:moveTo>
                  <a:lnTo>
                    <a:pt x="0" y="284"/>
                  </a:lnTo>
                  <a:lnTo>
                    <a:pt x="0" y="93"/>
                  </a:lnTo>
                  <a:lnTo>
                    <a:pt x="246" y="0"/>
                  </a:lnTo>
                  <a:lnTo>
                    <a:pt x="246" y="191"/>
                  </a:ln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439">
              <a:extLst>
                <a:ext uri="{FF2B5EF4-FFF2-40B4-BE49-F238E27FC236}">
                  <a16:creationId xmlns:a16="http://schemas.microsoft.com/office/drawing/2014/main" id="{5A92B029-D5C7-FB36-A947-B31EA121B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654675"/>
              <a:ext cx="290513" cy="450850"/>
            </a:xfrm>
            <a:custGeom>
              <a:avLst/>
              <a:gdLst>
                <a:gd name="T0" fmla="*/ 0 w 183"/>
                <a:gd name="T1" fmla="*/ 191 h 284"/>
                <a:gd name="T2" fmla="*/ 183 w 183"/>
                <a:gd name="T3" fmla="*/ 284 h 284"/>
                <a:gd name="T4" fmla="*/ 183 w 183"/>
                <a:gd name="T5" fmla="*/ 93 h 284"/>
                <a:gd name="T6" fmla="*/ 0 w 183"/>
                <a:gd name="T7" fmla="*/ 0 h 284"/>
                <a:gd name="T8" fmla="*/ 0 w 183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84">
                  <a:moveTo>
                    <a:pt x="0" y="191"/>
                  </a:moveTo>
                  <a:lnTo>
                    <a:pt x="183" y="284"/>
                  </a:lnTo>
                  <a:lnTo>
                    <a:pt x="183" y="93"/>
                  </a:lnTo>
                  <a:lnTo>
                    <a:pt x="0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Freeform 440">
              <a:extLst>
                <a:ext uri="{FF2B5EF4-FFF2-40B4-BE49-F238E27FC236}">
                  <a16:creationId xmlns:a16="http://schemas.microsoft.com/office/drawing/2014/main" id="{6AFAFBC1-98B0-6F42-2414-989028A572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6" y="5681663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2 h 19"/>
                <a:gd name="T4" fmla="*/ 20 w 39"/>
                <a:gd name="T5" fmla="*/ 19 h 19"/>
                <a:gd name="T6" fmla="*/ 0 w 39"/>
                <a:gd name="T7" fmla="*/ 12 h 19"/>
                <a:gd name="T8" fmla="*/ 0 w 39"/>
                <a:gd name="T9" fmla="*/ 0 h 19"/>
                <a:gd name="T10" fmla="*/ 20 w 39"/>
                <a:gd name="T11" fmla="*/ 6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6"/>
                    <a:pt x="30" y="19"/>
                    <a:pt x="20" y="19"/>
                  </a:cubicBezTo>
                  <a:cubicBezTo>
                    <a:pt x="9" y="19"/>
                    <a:pt x="0" y="16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9" y="6"/>
                    <a:pt x="20" y="6"/>
                  </a:cubicBezTo>
                  <a:cubicBezTo>
                    <a:pt x="30" y="6"/>
                    <a:pt x="39" y="3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0" name="Oval 441">
              <a:extLst>
                <a:ext uri="{FF2B5EF4-FFF2-40B4-BE49-F238E27FC236}">
                  <a16:creationId xmlns:a16="http://schemas.microsoft.com/office/drawing/2014/main" id="{0360F253-DE8F-6651-4EE0-FFBAFFAD69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326" y="5654675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442">
              <a:extLst>
                <a:ext uri="{FF2B5EF4-FFF2-40B4-BE49-F238E27FC236}">
                  <a16:creationId xmlns:a16="http://schemas.microsoft.com/office/drawing/2014/main" id="{BF623AE6-C3F1-8295-5403-3A0FD710C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451" y="5605463"/>
              <a:ext cx="142875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30" y="20"/>
                    <a:pt x="19" y="20"/>
                  </a:cubicBezTo>
                  <a:cubicBezTo>
                    <a:pt x="9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Oval 443">
              <a:extLst>
                <a:ext uri="{FF2B5EF4-FFF2-40B4-BE49-F238E27FC236}">
                  <a16:creationId xmlns:a16="http://schemas.microsoft.com/office/drawing/2014/main" id="{64FC5F04-DF0C-B56B-FFDF-7A1AAA1D93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51" y="5583238"/>
              <a:ext cx="142875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444">
              <a:extLst>
                <a:ext uri="{FF2B5EF4-FFF2-40B4-BE49-F238E27FC236}">
                  <a16:creationId xmlns:a16="http://schemas.microsoft.com/office/drawing/2014/main" id="{E70385D2-95E7-5A1A-FFE2-D807750947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534025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3 h 19"/>
                <a:gd name="T4" fmla="*/ 19 w 39"/>
                <a:gd name="T5" fmla="*/ 19 h 19"/>
                <a:gd name="T6" fmla="*/ 0 w 39"/>
                <a:gd name="T7" fmla="*/ 13 h 19"/>
                <a:gd name="T8" fmla="*/ 0 w 39"/>
                <a:gd name="T9" fmla="*/ 0 h 19"/>
                <a:gd name="T10" fmla="*/ 19 w 39"/>
                <a:gd name="T11" fmla="*/ 7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3"/>
                    <a:pt x="39" y="13"/>
                    <a:pt x="39" y="13"/>
                  </a:cubicBezTo>
                  <a:cubicBezTo>
                    <a:pt x="39" y="17"/>
                    <a:pt x="30" y="19"/>
                    <a:pt x="19" y="19"/>
                  </a:cubicBezTo>
                  <a:cubicBezTo>
                    <a:pt x="9" y="19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9" y="4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Oval 445">
              <a:extLst>
                <a:ext uri="{FF2B5EF4-FFF2-40B4-BE49-F238E27FC236}">
                  <a16:creationId xmlns:a16="http://schemas.microsoft.com/office/drawing/2014/main" id="{0C3B9A39-545F-AC19-9C87-8A890F54C8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6538" y="5511800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Freeform 446">
              <a:extLst>
                <a:ext uri="{FF2B5EF4-FFF2-40B4-BE49-F238E27FC236}">
                  <a16:creationId xmlns:a16="http://schemas.microsoft.com/office/drawing/2014/main" id="{72BF6CE7-3865-75BA-E66E-AA5314D71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176" y="5605463"/>
              <a:ext cx="144463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29" y="20"/>
                    <a:pt x="19" y="20"/>
                  </a:cubicBezTo>
                  <a:cubicBezTo>
                    <a:pt x="8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8" y="7"/>
                    <a:pt x="19" y="7"/>
                  </a:cubicBezTo>
                  <a:cubicBezTo>
                    <a:pt x="29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Oval 447">
              <a:extLst>
                <a:ext uri="{FF2B5EF4-FFF2-40B4-BE49-F238E27FC236}">
                  <a16:creationId xmlns:a16="http://schemas.microsoft.com/office/drawing/2014/main" id="{14570CF4-97BD-E616-75B7-597A0DC969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176" y="5583238"/>
              <a:ext cx="144463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F43D165B-23AE-3106-5ED1-FE3624C80210}"/>
              </a:ext>
            </a:extLst>
          </p:cNvPr>
          <p:cNvGrpSpPr/>
          <p:nvPr/>
        </p:nvGrpSpPr>
        <p:grpSpPr>
          <a:xfrm>
            <a:off x="3634830" y="1386013"/>
            <a:ext cx="971518" cy="971518"/>
            <a:chOff x="7187500" y="839949"/>
            <a:chExt cx="1422400" cy="1422400"/>
          </a:xfrm>
        </p:grpSpPr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A29B7A05-98E6-9AFE-F41B-84842A62BBF0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592A1C73-E21B-B9D1-46CA-8E5E117DA051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49010219-C3C5-67EA-ED57-D0B5F8B27CC9}"/>
              </a:ext>
            </a:extLst>
          </p:cNvPr>
          <p:cNvGrpSpPr/>
          <p:nvPr/>
        </p:nvGrpSpPr>
        <p:grpSpPr>
          <a:xfrm>
            <a:off x="3976612" y="1755817"/>
            <a:ext cx="336080" cy="292993"/>
            <a:chOff x="1216026" y="5511800"/>
            <a:chExt cx="681038" cy="593725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06" name="Freeform 437">
              <a:extLst>
                <a:ext uri="{FF2B5EF4-FFF2-40B4-BE49-F238E27FC236}">
                  <a16:creationId xmlns:a16="http://schemas.microsoft.com/office/drawing/2014/main" id="{7AD86994-BF0D-1EDB-C147-B8EDCCF87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511800"/>
              <a:ext cx="681038" cy="593725"/>
            </a:xfrm>
            <a:custGeom>
              <a:avLst/>
              <a:gdLst>
                <a:gd name="T0" fmla="*/ 245 w 429"/>
                <a:gd name="T1" fmla="*/ 0 h 374"/>
                <a:gd name="T2" fmla="*/ 0 w 429"/>
                <a:gd name="T3" fmla="*/ 90 h 374"/>
                <a:gd name="T4" fmla="*/ 0 w 429"/>
                <a:gd name="T5" fmla="*/ 281 h 374"/>
                <a:gd name="T6" fmla="*/ 183 w 429"/>
                <a:gd name="T7" fmla="*/ 374 h 374"/>
                <a:gd name="T8" fmla="*/ 429 w 429"/>
                <a:gd name="T9" fmla="*/ 281 h 374"/>
                <a:gd name="T10" fmla="*/ 429 w 429"/>
                <a:gd name="T11" fmla="*/ 90 h 374"/>
                <a:gd name="T12" fmla="*/ 245 w 429"/>
                <a:gd name="T13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9" h="374">
                  <a:moveTo>
                    <a:pt x="245" y="0"/>
                  </a:moveTo>
                  <a:lnTo>
                    <a:pt x="0" y="90"/>
                  </a:lnTo>
                  <a:lnTo>
                    <a:pt x="0" y="281"/>
                  </a:lnTo>
                  <a:lnTo>
                    <a:pt x="183" y="374"/>
                  </a:lnTo>
                  <a:lnTo>
                    <a:pt x="429" y="281"/>
                  </a:lnTo>
                  <a:lnTo>
                    <a:pt x="429" y="90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438">
              <a:extLst>
                <a:ext uri="{FF2B5EF4-FFF2-40B4-BE49-F238E27FC236}">
                  <a16:creationId xmlns:a16="http://schemas.microsoft.com/office/drawing/2014/main" id="{47A46157-186D-351B-AA44-B65186F801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654675"/>
              <a:ext cx="390525" cy="450850"/>
            </a:xfrm>
            <a:custGeom>
              <a:avLst/>
              <a:gdLst>
                <a:gd name="T0" fmla="*/ 246 w 246"/>
                <a:gd name="T1" fmla="*/ 191 h 284"/>
                <a:gd name="T2" fmla="*/ 0 w 246"/>
                <a:gd name="T3" fmla="*/ 284 h 284"/>
                <a:gd name="T4" fmla="*/ 0 w 246"/>
                <a:gd name="T5" fmla="*/ 93 h 284"/>
                <a:gd name="T6" fmla="*/ 246 w 246"/>
                <a:gd name="T7" fmla="*/ 0 h 284"/>
                <a:gd name="T8" fmla="*/ 246 w 246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84">
                  <a:moveTo>
                    <a:pt x="246" y="191"/>
                  </a:moveTo>
                  <a:lnTo>
                    <a:pt x="0" y="284"/>
                  </a:lnTo>
                  <a:lnTo>
                    <a:pt x="0" y="93"/>
                  </a:lnTo>
                  <a:lnTo>
                    <a:pt x="246" y="0"/>
                  </a:lnTo>
                  <a:lnTo>
                    <a:pt x="246" y="191"/>
                  </a:ln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Freeform 439">
              <a:extLst>
                <a:ext uri="{FF2B5EF4-FFF2-40B4-BE49-F238E27FC236}">
                  <a16:creationId xmlns:a16="http://schemas.microsoft.com/office/drawing/2014/main" id="{623F1E81-F12B-120C-088B-ECA2C3A4D9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654675"/>
              <a:ext cx="290513" cy="450850"/>
            </a:xfrm>
            <a:custGeom>
              <a:avLst/>
              <a:gdLst>
                <a:gd name="T0" fmla="*/ 0 w 183"/>
                <a:gd name="T1" fmla="*/ 191 h 284"/>
                <a:gd name="T2" fmla="*/ 183 w 183"/>
                <a:gd name="T3" fmla="*/ 284 h 284"/>
                <a:gd name="T4" fmla="*/ 183 w 183"/>
                <a:gd name="T5" fmla="*/ 93 h 284"/>
                <a:gd name="T6" fmla="*/ 0 w 183"/>
                <a:gd name="T7" fmla="*/ 0 h 284"/>
                <a:gd name="T8" fmla="*/ 0 w 183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84">
                  <a:moveTo>
                    <a:pt x="0" y="191"/>
                  </a:moveTo>
                  <a:lnTo>
                    <a:pt x="183" y="284"/>
                  </a:lnTo>
                  <a:lnTo>
                    <a:pt x="183" y="93"/>
                  </a:lnTo>
                  <a:lnTo>
                    <a:pt x="0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440">
              <a:extLst>
                <a:ext uri="{FF2B5EF4-FFF2-40B4-BE49-F238E27FC236}">
                  <a16:creationId xmlns:a16="http://schemas.microsoft.com/office/drawing/2014/main" id="{E455C0D8-8B9E-4C99-E06D-44147C680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6" y="5681663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2 h 19"/>
                <a:gd name="T4" fmla="*/ 20 w 39"/>
                <a:gd name="T5" fmla="*/ 19 h 19"/>
                <a:gd name="T6" fmla="*/ 0 w 39"/>
                <a:gd name="T7" fmla="*/ 12 h 19"/>
                <a:gd name="T8" fmla="*/ 0 w 39"/>
                <a:gd name="T9" fmla="*/ 0 h 19"/>
                <a:gd name="T10" fmla="*/ 20 w 39"/>
                <a:gd name="T11" fmla="*/ 6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6"/>
                    <a:pt x="30" y="19"/>
                    <a:pt x="20" y="19"/>
                  </a:cubicBezTo>
                  <a:cubicBezTo>
                    <a:pt x="9" y="19"/>
                    <a:pt x="0" y="16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9" y="6"/>
                    <a:pt x="20" y="6"/>
                  </a:cubicBezTo>
                  <a:cubicBezTo>
                    <a:pt x="30" y="6"/>
                    <a:pt x="39" y="3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0" name="Oval 441">
              <a:extLst>
                <a:ext uri="{FF2B5EF4-FFF2-40B4-BE49-F238E27FC236}">
                  <a16:creationId xmlns:a16="http://schemas.microsoft.com/office/drawing/2014/main" id="{0FDD8113-0F76-963A-6558-9E0488684A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326" y="5654675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" name="Freeform 442">
              <a:extLst>
                <a:ext uri="{FF2B5EF4-FFF2-40B4-BE49-F238E27FC236}">
                  <a16:creationId xmlns:a16="http://schemas.microsoft.com/office/drawing/2014/main" id="{4B6DAB4B-B861-8C43-F0FE-6D0003FC8F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451" y="5605463"/>
              <a:ext cx="142875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30" y="20"/>
                    <a:pt x="19" y="20"/>
                  </a:cubicBezTo>
                  <a:cubicBezTo>
                    <a:pt x="9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" name="Oval 443">
              <a:extLst>
                <a:ext uri="{FF2B5EF4-FFF2-40B4-BE49-F238E27FC236}">
                  <a16:creationId xmlns:a16="http://schemas.microsoft.com/office/drawing/2014/main" id="{ACA25F75-4BEF-7EB4-8BEF-D3DE91E0A3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51" y="5583238"/>
              <a:ext cx="142875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" name="Freeform 444">
              <a:extLst>
                <a:ext uri="{FF2B5EF4-FFF2-40B4-BE49-F238E27FC236}">
                  <a16:creationId xmlns:a16="http://schemas.microsoft.com/office/drawing/2014/main" id="{64940F4B-09FE-0126-C35E-7743D5826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534025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3 h 19"/>
                <a:gd name="T4" fmla="*/ 19 w 39"/>
                <a:gd name="T5" fmla="*/ 19 h 19"/>
                <a:gd name="T6" fmla="*/ 0 w 39"/>
                <a:gd name="T7" fmla="*/ 13 h 19"/>
                <a:gd name="T8" fmla="*/ 0 w 39"/>
                <a:gd name="T9" fmla="*/ 0 h 19"/>
                <a:gd name="T10" fmla="*/ 19 w 39"/>
                <a:gd name="T11" fmla="*/ 7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3"/>
                    <a:pt x="39" y="13"/>
                    <a:pt x="39" y="13"/>
                  </a:cubicBezTo>
                  <a:cubicBezTo>
                    <a:pt x="39" y="17"/>
                    <a:pt x="30" y="19"/>
                    <a:pt x="19" y="19"/>
                  </a:cubicBezTo>
                  <a:cubicBezTo>
                    <a:pt x="9" y="19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9" y="4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Oval 445">
              <a:extLst>
                <a:ext uri="{FF2B5EF4-FFF2-40B4-BE49-F238E27FC236}">
                  <a16:creationId xmlns:a16="http://schemas.microsoft.com/office/drawing/2014/main" id="{D90D8E03-2354-1363-8F95-795DF9F17B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6538" y="5511800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Freeform 446">
              <a:extLst>
                <a:ext uri="{FF2B5EF4-FFF2-40B4-BE49-F238E27FC236}">
                  <a16:creationId xmlns:a16="http://schemas.microsoft.com/office/drawing/2014/main" id="{BE33162D-D5E5-30EB-7F4C-16F28A80B7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176" y="5605463"/>
              <a:ext cx="144463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29" y="20"/>
                    <a:pt x="19" y="20"/>
                  </a:cubicBezTo>
                  <a:cubicBezTo>
                    <a:pt x="8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8" y="7"/>
                    <a:pt x="19" y="7"/>
                  </a:cubicBezTo>
                  <a:cubicBezTo>
                    <a:pt x="29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" name="Oval 447">
              <a:extLst>
                <a:ext uri="{FF2B5EF4-FFF2-40B4-BE49-F238E27FC236}">
                  <a16:creationId xmlns:a16="http://schemas.microsoft.com/office/drawing/2014/main" id="{80C24968-098D-C0A3-FF5F-6AE792EE57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176" y="5583238"/>
              <a:ext cx="144463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8" name="Freeform 46">
            <a:extLst>
              <a:ext uri="{FF2B5EF4-FFF2-40B4-BE49-F238E27FC236}">
                <a16:creationId xmlns:a16="http://schemas.microsoft.com/office/drawing/2014/main" id="{954C3574-A099-AA83-2D03-2A60E267C2D7}"/>
              </a:ext>
            </a:extLst>
          </p:cNvPr>
          <p:cNvSpPr/>
          <p:nvPr/>
        </p:nvSpPr>
        <p:spPr>
          <a:xfrm>
            <a:off x="2190104" y="1509141"/>
            <a:ext cx="160006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9" name="Title 1">
            <a:extLst>
              <a:ext uri="{FF2B5EF4-FFF2-40B4-BE49-F238E27FC236}">
                <a16:creationId xmlns:a16="http://schemas.microsoft.com/office/drawing/2014/main" id="{2EC7EEA7-AD12-26DB-E000-7BA1E28DB755}"/>
              </a:ext>
            </a:extLst>
          </p:cNvPr>
          <p:cNvSpPr txBox="1">
            <a:spLocks/>
          </p:cNvSpPr>
          <p:nvPr/>
        </p:nvSpPr>
        <p:spPr>
          <a:xfrm>
            <a:off x="2536403" y="1645712"/>
            <a:ext cx="1061883" cy="49364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Response Variable</a:t>
            </a:r>
          </a:p>
        </p:txBody>
      </p:sp>
      <p:sp>
        <p:nvSpPr>
          <p:cNvPr id="120" name="Title 1">
            <a:extLst>
              <a:ext uri="{FF2B5EF4-FFF2-40B4-BE49-F238E27FC236}">
                <a16:creationId xmlns:a16="http://schemas.microsoft.com/office/drawing/2014/main" id="{EE41B0D5-17C7-D7F4-F632-7EE50A56E065}"/>
              </a:ext>
            </a:extLst>
          </p:cNvPr>
          <p:cNvSpPr txBox="1">
            <a:spLocks/>
          </p:cNvSpPr>
          <p:nvPr/>
        </p:nvSpPr>
        <p:spPr>
          <a:xfrm>
            <a:off x="142755" y="1630602"/>
            <a:ext cx="1989601" cy="10087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i="1" dirty="0">
                <a:solidFill>
                  <a:schemeClr val="accent4"/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Horizontal distance travelled by the Lego car after leaving the ramp</a:t>
            </a: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5D79E2D6-6D87-84DE-656A-ED700B3B6637}"/>
              </a:ext>
            </a:extLst>
          </p:cNvPr>
          <p:cNvSpPr/>
          <p:nvPr/>
        </p:nvSpPr>
        <p:spPr>
          <a:xfrm>
            <a:off x="3142966" y="3081468"/>
            <a:ext cx="971518" cy="97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B047D10C-64F6-234E-9B36-CBF7E43636D2}"/>
              </a:ext>
            </a:extLst>
          </p:cNvPr>
          <p:cNvGrpSpPr/>
          <p:nvPr/>
        </p:nvGrpSpPr>
        <p:grpSpPr>
          <a:xfrm>
            <a:off x="3142966" y="3082423"/>
            <a:ext cx="971518" cy="971518"/>
            <a:chOff x="7187500" y="839949"/>
            <a:chExt cx="1422400" cy="1422400"/>
          </a:xfrm>
        </p:grpSpPr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3E415826-FA72-9924-94D2-9559BE0C8A9E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96BEFE54-2DAD-6602-E166-055FA9E345F1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0" name="Freeform 46">
            <a:extLst>
              <a:ext uri="{FF2B5EF4-FFF2-40B4-BE49-F238E27FC236}">
                <a16:creationId xmlns:a16="http://schemas.microsoft.com/office/drawing/2014/main" id="{ECD48727-D290-5B6F-48D5-DF106C71301E}"/>
              </a:ext>
            </a:extLst>
          </p:cNvPr>
          <p:cNvSpPr/>
          <p:nvPr/>
        </p:nvSpPr>
        <p:spPr>
          <a:xfrm>
            <a:off x="2132355" y="3214950"/>
            <a:ext cx="1099104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UoM</a:t>
            </a:r>
            <a:endParaRPr lang="en-US" dirty="0">
              <a:latin typeface="AkayaKanadaka" panose="02010502080401010103" pitchFamily="2" charset="77"/>
              <a:cs typeface="AkayaKanadaka" panose="02010502080401010103" pitchFamily="2" charset="77"/>
            </a:endParaRPr>
          </a:p>
        </p:txBody>
      </p:sp>
      <p:sp>
        <p:nvSpPr>
          <p:cNvPr id="141" name="Title 1">
            <a:extLst>
              <a:ext uri="{FF2B5EF4-FFF2-40B4-BE49-F238E27FC236}">
                <a16:creationId xmlns:a16="http://schemas.microsoft.com/office/drawing/2014/main" id="{7A23D756-8EA0-5700-4FD7-D4E44939F5E8}"/>
              </a:ext>
            </a:extLst>
          </p:cNvPr>
          <p:cNvSpPr txBox="1">
            <a:spLocks/>
          </p:cNvSpPr>
          <p:nvPr/>
        </p:nvSpPr>
        <p:spPr>
          <a:xfrm>
            <a:off x="1376053" y="3360922"/>
            <a:ext cx="1483492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i="1" dirty="0" err="1">
                <a:solidFill>
                  <a:schemeClr val="accent4"/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cm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142" name="Freeform 46">
            <a:extLst>
              <a:ext uri="{FF2B5EF4-FFF2-40B4-BE49-F238E27FC236}">
                <a16:creationId xmlns:a16="http://schemas.microsoft.com/office/drawing/2014/main" id="{575118DF-3B3D-E66C-E259-9BEDA352E3A8}"/>
              </a:ext>
            </a:extLst>
          </p:cNvPr>
          <p:cNvSpPr/>
          <p:nvPr/>
        </p:nvSpPr>
        <p:spPr>
          <a:xfrm>
            <a:off x="2369476" y="4721025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Set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6BC03F51-3D48-F88F-0C8D-13BB5B444669}"/>
              </a:ext>
            </a:extLst>
          </p:cNvPr>
          <p:cNvGrpSpPr/>
          <p:nvPr/>
        </p:nvGrpSpPr>
        <p:grpSpPr>
          <a:xfrm>
            <a:off x="3799262" y="4564840"/>
            <a:ext cx="971518" cy="971518"/>
            <a:chOff x="7187500" y="839949"/>
            <a:chExt cx="1422400" cy="1422400"/>
          </a:xfrm>
        </p:grpSpPr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CBA913DD-4984-D618-B726-00F62EDAA9E8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5847A98C-9628-B47B-7783-7567F8206E20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0" name="Title 1">
            <a:extLst>
              <a:ext uri="{FF2B5EF4-FFF2-40B4-BE49-F238E27FC236}">
                <a16:creationId xmlns:a16="http://schemas.microsoft.com/office/drawing/2014/main" id="{7DF130B9-D29D-0B24-A504-39CBD9D679C0}"/>
              </a:ext>
            </a:extLst>
          </p:cNvPr>
          <p:cNvSpPr txBox="1">
            <a:spLocks/>
          </p:cNvSpPr>
          <p:nvPr/>
        </p:nvSpPr>
        <p:spPr>
          <a:xfrm>
            <a:off x="401985" y="4833249"/>
            <a:ext cx="1989601" cy="104140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i="1" dirty="0">
                <a:solidFill>
                  <a:schemeClr val="accent4"/>
                </a:solidFill>
                <a:latin typeface="AkayaKanadaka" panose="02010502080401010103" pitchFamily="2" charset="77"/>
                <a:cs typeface="AkayaKanadaka" panose="02010502080401010103" pitchFamily="2" charset="77"/>
              </a:rPr>
              <a:t>Average of 3 repeated trails per design</a:t>
            </a:r>
          </a:p>
        </p:txBody>
      </p:sp>
      <p:pic>
        <p:nvPicPr>
          <p:cNvPr id="171" name="Picture 170">
            <a:extLst>
              <a:ext uri="{FF2B5EF4-FFF2-40B4-BE49-F238E27FC236}">
                <a16:creationId xmlns:a16="http://schemas.microsoft.com/office/drawing/2014/main" id="{24A60BDE-109A-BF90-4902-B83C82CBC3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20164" y="61756"/>
            <a:ext cx="2870200" cy="2311400"/>
          </a:xfrm>
          <a:prstGeom prst="rect">
            <a:avLst/>
          </a:prstGeom>
        </p:spPr>
      </p:pic>
      <p:pic>
        <p:nvPicPr>
          <p:cNvPr id="172" name="Picture 171">
            <a:extLst>
              <a:ext uri="{FF2B5EF4-FFF2-40B4-BE49-F238E27FC236}">
                <a16:creationId xmlns:a16="http://schemas.microsoft.com/office/drawing/2014/main" id="{E8C40588-3F02-DCA0-0D0B-B2EABB1D932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62915" y="2131805"/>
            <a:ext cx="3158950" cy="2362011"/>
          </a:xfrm>
          <a:prstGeom prst="rect">
            <a:avLst/>
          </a:prstGeom>
        </p:spPr>
      </p:pic>
      <p:grpSp>
        <p:nvGrpSpPr>
          <p:cNvPr id="173" name="Group 172">
            <a:extLst>
              <a:ext uri="{FF2B5EF4-FFF2-40B4-BE49-F238E27FC236}">
                <a16:creationId xmlns:a16="http://schemas.microsoft.com/office/drawing/2014/main" id="{B7529B66-4BEB-E85E-10DC-AAA336D2FE7F}"/>
              </a:ext>
            </a:extLst>
          </p:cNvPr>
          <p:cNvGrpSpPr/>
          <p:nvPr/>
        </p:nvGrpSpPr>
        <p:grpSpPr>
          <a:xfrm>
            <a:off x="7997898" y="4498330"/>
            <a:ext cx="336080" cy="292993"/>
            <a:chOff x="1216026" y="5511800"/>
            <a:chExt cx="681038" cy="593725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74" name="Freeform 437">
              <a:extLst>
                <a:ext uri="{FF2B5EF4-FFF2-40B4-BE49-F238E27FC236}">
                  <a16:creationId xmlns:a16="http://schemas.microsoft.com/office/drawing/2014/main" id="{D9EAD810-ECD8-49C1-C270-43C2AD200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511800"/>
              <a:ext cx="681038" cy="593725"/>
            </a:xfrm>
            <a:custGeom>
              <a:avLst/>
              <a:gdLst>
                <a:gd name="T0" fmla="*/ 245 w 429"/>
                <a:gd name="T1" fmla="*/ 0 h 374"/>
                <a:gd name="T2" fmla="*/ 0 w 429"/>
                <a:gd name="T3" fmla="*/ 90 h 374"/>
                <a:gd name="T4" fmla="*/ 0 w 429"/>
                <a:gd name="T5" fmla="*/ 281 h 374"/>
                <a:gd name="T6" fmla="*/ 183 w 429"/>
                <a:gd name="T7" fmla="*/ 374 h 374"/>
                <a:gd name="T8" fmla="*/ 429 w 429"/>
                <a:gd name="T9" fmla="*/ 281 h 374"/>
                <a:gd name="T10" fmla="*/ 429 w 429"/>
                <a:gd name="T11" fmla="*/ 90 h 374"/>
                <a:gd name="T12" fmla="*/ 245 w 429"/>
                <a:gd name="T13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9" h="374">
                  <a:moveTo>
                    <a:pt x="245" y="0"/>
                  </a:moveTo>
                  <a:lnTo>
                    <a:pt x="0" y="90"/>
                  </a:lnTo>
                  <a:lnTo>
                    <a:pt x="0" y="281"/>
                  </a:lnTo>
                  <a:lnTo>
                    <a:pt x="183" y="374"/>
                  </a:lnTo>
                  <a:lnTo>
                    <a:pt x="429" y="281"/>
                  </a:lnTo>
                  <a:lnTo>
                    <a:pt x="429" y="90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5" name="Freeform 438">
              <a:extLst>
                <a:ext uri="{FF2B5EF4-FFF2-40B4-BE49-F238E27FC236}">
                  <a16:creationId xmlns:a16="http://schemas.microsoft.com/office/drawing/2014/main" id="{E5819413-AB39-0637-0D2D-DE13D3ECC1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654675"/>
              <a:ext cx="390525" cy="450850"/>
            </a:xfrm>
            <a:custGeom>
              <a:avLst/>
              <a:gdLst>
                <a:gd name="T0" fmla="*/ 246 w 246"/>
                <a:gd name="T1" fmla="*/ 191 h 284"/>
                <a:gd name="T2" fmla="*/ 0 w 246"/>
                <a:gd name="T3" fmla="*/ 284 h 284"/>
                <a:gd name="T4" fmla="*/ 0 w 246"/>
                <a:gd name="T5" fmla="*/ 93 h 284"/>
                <a:gd name="T6" fmla="*/ 246 w 246"/>
                <a:gd name="T7" fmla="*/ 0 h 284"/>
                <a:gd name="T8" fmla="*/ 246 w 246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84">
                  <a:moveTo>
                    <a:pt x="246" y="191"/>
                  </a:moveTo>
                  <a:lnTo>
                    <a:pt x="0" y="284"/>
                  </a:lnTo>
                  <a:lnTo>
                    <a:pt x="0" y="93"/>
                  </a:lnTo>
                  <a:lnTo>
                    <a:pt x="246" y="0"/>
                  </a:lnTo>
                  <a:lnTo>
                    <a:pt x="246" y="191"/>
                  </a:ln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6" name="Freeform 439">
              <a:extLst>
                <a:ext uri="{FF2B5EF4-FFF2-40B4-BE49-F238E27FC236}">
                  <a16:creationId xmlns:a16="http://schemas.microsoft.com/office/drawing/2014/main" id="{B97731D7-0973-3FA0-452D-8BF664C756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654675"/>
              <a:ext cx="290513" cy="450850"/>
            </a:xfrm>
            <a:custGeom>
              <a:avLst/>
              <a:gdLst>
                <a:gd name="T0" fmla="*/ 0 w 183"/>
                <a:gd name="T1" fmla="*/ 191 h 284"/>
                <a:gd name="T2" fmla="*/ 183 w 183"/>
                <a:gd name="T3" fmla="*/ 284 h 284"/>
                <a:gd name="T4" fmla="*/ 183 w 183"/>
                <a:gd name="T5" fmla="*/ 93 h 284"/>
                <a:gd name="T6" fmla="*/ 0 w 183"/>
                <a:gd name="T7" fmla="*/ 0 h 284"/>
                <a:gd name="T8" fmla="*/ 0 w 183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84">
                  <a:moveTo>
                    <a:pt x="0" y="191"/>
                  </a:moveTo>
                  <a:lnTo>
                    <a:pt x="183" y="284"/>
                  </a:lnTo>
                  <a:lnTo>
                    <a:pt x="183" y="93"/>
                  </a:lnTo>
                  <a:lnTo>
                    <a:pt x="0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7" name="Freeform 440">
              <a:extLst>
                <a:ext uri="{FF2B5EF4-FFF2-40B4-BE49-F238E27FC236}">
                  <a16:creationId xmlns:a16="http://schemas.microsoft.com/office/drawing/2014/main" id="{DCF1D91F-74E4-89E9-592B-22FED5747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6" y="5681663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2 h 19"/>
                <a:gd name="T4" fmla="*/ 20 w 39"/>
                <a:gd name="T5" fmla="*/ 19 h 19"/>
                <a:gd name="T6" fmla="*/ 0 w 39"/>
                <a:gd name="T7" fmla="*/ 12 h 19"/>
                <a:gd name="T8" fmla="*/ 0 w 39"/>
                <a:gd name="T9" fmla="*/ 0 h 19"/>
                <a:gd name="T10" fmla="*/ 20 w 39"/>
                <a:gd name="T11" fmla="*/ 6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6"/>
                    <a:pt x="30" y="19"/>
                    <a:pt x="20" y="19"/>
                  </a:cubicBezTo>
                  <a:cubicBezTo>
                    <a:pt x="9" y="19"/>
                    <a:pt x="0" y="16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9" y="6"/>
                    <a:pt x="20" y="6"/>
                  </a:cubicBezTo>
                  <a:cubicBezTo>
                    <a:pt x="30" y="6"/>
                    <a:pt x="39" y="3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8" name="Oval 441">
              <a:extLst>
                <a:ext uri="{FF2B5EF4-FFF2-40B4-BE49-F238E27FC236}">
                  <a16:creationId xmlns:a16="http://schemas.microsoft.com/office/drawing/2014/main" id="{F39F34B2-7FAA-85E3-75F2-A933D23103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326" y="5654675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9" name="Freeform 442">
              <a:extLst>
                <a:ext uri="{FF2B5EF4-FFF2-40B4-BE49-F238E27FC236}">
                  <a16:creationId xmlns:a16="http://schemas.microsoft.com/office/drawing/2014/main" id="{F82CA0B7-4C99-5A11-1203-5A6D857B8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451" y="5605463"/>
              <a:ext cx="142875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30" y="20"/>
                    <a:pt x="19" y="20"/>
                  </a:cubicBezTo>
                  <a:cubicBezTo>
                    <a:pt x="9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0" name="Oval 443">
              <a:extLst>
                <a:ext uri="{FF2B5EF4-FFF2-40B4-BE49-F238E27FC236}">
                  <a16:creationId xmlns:a16="http://schemas.microsoft.com/office/drawing/2014/main" id="{2EA65B90-A452-C220-E2A2-E6EC027E75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51" y="5583238"/>
              <a:ext cx="142875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1" name="Freeform 444">
              <a:extLst>
                <a:ext uri="{FF2B5EF4-FFF2-40B4-BE49-F238E27FC236}">
                  <a16:creationId xmlns:a16="http://schemas.microsoft.com/office/drawing/2014/main" id="{7DE90A7B-E22E-C7B7-5412-3BAE0F4343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534025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3 h 19"/>
                <a:gd name="T4" fmla="*/ 19 w 39"/>
                <a:gd name="T5" fmla="*/ 19 h 19"/>
                <a:gd name="T6" fmla="*/ 0 w 39"/>
                <a:gd name="T7" fmla="*/ 13 h 19"/>
                <a:gd name="T8" fmla="*/ 0 w 39"/>
                <a:gd name="T9" fmla="*/ 0 h 19"/>
                <a:gd name="T10" fmla="*/ 19 w 39"/>
                <a:gd name="T11" fmla="*/ 7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3"/>
                    <a:pt x="39" y="13"/>
                    <a:pt x="39" y="13"/>
                  </a:cubicBezTo>
                  <a:cubicBezTo>
                    <a:pt x="39" y="17"/>
                    <a:pt x="30" y="19"/>
                    <a:pt x="19" y="19"/>
                  </a:cubicBezTo>
                  <a:cubicBezTo>
                    <a:pt x="9" y="19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9" y="4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2" name="Oval 445">
              <a:extLst>
                <a:ext uri="{FF2B5EF4-FFF2-40B4-BE49-F238E27FC236}">
                  <a16:creationId xmlns:a16="http://schemas.microsoft.com/office/drawing/2014/main" id="{E0A2E298-AE16-C7B7-B625-4E156720DD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6538" y="5511800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3" name="Freeform 446">
              <a:extLst>
                <a:ext uri="{FF2B5EF4-FFF2-40B4-BE49-F238E27FC236}">
                  <a16:creationId xmlns:a16="http://schemas.microsoft.com/office/drawing/2014/main" id="{ABCC454B-746C-4DFF-0531-FC40F0B08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176" y="5605463"/>
              <a:ext cx="144463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29" y="20"/>
                    <a:pt x="19" y="20"/>
                  </a:cubicBezTo>
                  <a:cubicBezTo>
                    <a:pt x="8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8" y="7"/>
                    <a:pt x="19" y="7"/>
                  </a:cubicBezTo>
                  <a:cubicBezTo>
                    <a:pt x="29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4" name="Oval 447">
              <a:extLst>
                <a:ext uri="{FF2B5EF4-FFF2-40B4-BE49-F238E27FC236}">
                  <a16:creationId xmlns:a16="http://schemas.microsoft.com/office/drawing/2014/main" id="{087DDEE3-239E-50BE-6F1F-AD7DF5E071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176" y="5583238"/>
              <a:ext cx="144463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0C4E81F0-F0E1-EF50-248A-455FEAD88521}"/>
              </a:ext>
            </a:extLst>
          </p:cNvPr>
          <p:cNvGrpSpPr/>
          <p:nvPr/>
        </p:nvGrpSpPr>
        <p:grpSpPr>
          <a:xfrm>
            <a:off x="6439034" y="5685340"/>
            <a:ext cx="336080" cy="292993"/>
            <a:chOff x="1216026" y="5511800"/>
            <a:chExt cx="681038" cy="593725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86" name="Freeform 437">
              <a:extLst>
                <a:ext uri="{FF2B5EF4-FFF2-40B4-BE49-F238E27FC236}">
                  <a16:creationId xmlns:a16="http://schemas.microsoft.com/office/drawing/2014/main" id="{7D792698-D5AC-2831-0FA1-518344880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511800"/>
              <a:ext cx="681038" cy="593725"/>
            </a:xfrm>
            <a:custGeom>
              <a:avLst/>
              <a:gdLst>
                <a:gd name="T0" fmla="*/ 245 w 429"/>
                <a:gd name="T1" fmla="*/ 0 h 374"/>
                <a:gd name="T2" fmla="*/ 0 w 429"/>
                <a:gd name="T3" fmla="*/ 90 h 374"/>
                <a:gd name="T4" fmla="*/ 0 w 429"/>
                <a:gd name="T5" fmla="*/ 281 h 374"/>
                <a:gd name="T6" fmla="*/ 183 w 429"/>
                <a:gd name="T7" fmla="*/ 374 h 374"/>
                <a:gd name="T8" fmla="*/ 429 w 429"/>
                <a:gd name="T9" fmla="*/ 281 h 374"/>
                <a:gd name="T10" fmla="*/ 429 w 429"/>
                <a:gd name="T11" fmla="*/ 90 h 374"/>
                <a:gd name="T12" fmla="*/ 245 w 429"/>
                <a:gd name="T13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9" h="374">
                  <a:moveTo>
                    <a:pt x="245" y="0"/>
                  </a:moveTo>
                  <a:lnTo>
                    <a:pt x="0" y="90"/>
                  </a:lnTo>
                  <a:lnTo>
                    <a:pt x="0" y="281"/>
                  </a:lnTo>
                  <a:lnTo>
                    <a:pt x="183" y="374"/>
                  </a:lnTo>
                  <a:lnTo>
                    <a:pt x="429" y="281"/>
                  </a:lnTo>
                  <a:lnTo>
                    <a:pt x="429" y="90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7" name="Freeform 438">
              <a:extLst>
                <a:ext uri="{FF2B5EF4-FFF2-40B4-BE49-F238E27FC236}">
                  <a16:creationId xmlns:a16="http://schemas.microsoft.com/office/drawing/2014/main" id="{CECDA066-72E5-5FAA-0B5E-7670E2923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654675"/>
              <a:ext cx="390525" cy="450850"/>
            </a:xfrm>
            <a:custGeom>
              <a:avLst/>
              <a:gdLst>
                <a:gd name="T0" fmla="*/ 246 w 246"/>
                <a:gd name="T1" fmla="*/ 191 h 284"/>
                <a:gd name="T2" fmla="*/ 0 w 246"/>
                <a:gd name="T3" fmla="*/ 284 h 284"/>
                <a:gd name="T4" fmla="*/ 0 w 246"/>
                <a:gd name="T5" fmla="*/ 93 h 284"/>
                <a:gd name="T6" fmla="*/ 246 w 246"/>
                <a:gd name="T7" fmla="*/ 0 h 284"/>
                <a:gd name="T8" fmla="*/ 246 w 246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84">
                  <a:moveTo>
                    <a:pt x="246" y="191"/>
                  </a:moveTo>
                  <a:lnTo>
                    <a:pt x="0" y="284"/>
                  </a:lnTo>
                  <a:lnTo>
                    <a:pt x="0" y="93"/>
                  </a:lnTo>
                  <a:lnTo>
                    <a:pt x="246" y="0"/>
                  </a:lnTo>
                  <a:lnTo>
                    <a:pt x="246" y="191"/>
                  </a:ln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8" name="Freeform 439">
              <a:extLst>
                <a:ext uri="{FF2B5EF4-FFF2-40B4-BE49-F238E27FC236}">
                  <a16:creationId xmlns:a16="http://schemas.microsoft.com/office/drawing/2014/main" id="{16F5AA73-BE4F-F03B-1C5F-67FECAEDE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654675"/>
              <a:ext cx="290513" cy="450850"/>
            </a:xfrm>
            <a:custGeom>
              <a:avLst/>
              <a:gdLst>
                <a:gd name="T0" fmla="*/ 0 w 183"/>
                <a:gd name="T1" fmla="*/ 191 h 284"/>
                <a:gd name="T2" fmla="*/ 183 w 183"/>
                <a:gd name="T3" fmla="*/ 284 h 284"/>
                <a:gd name="T4" fmla="*/ 183 w 183"/>
                <a:gd name="T5" fmla="*/ 93 h 284"/>
                <a:gd name="T6" fmla="*/ 0 w 183"/>
                <a:gd name="T7" fmla="*/ 0 h 284"/>
                <a:gd name="T8" fmla="*/ 0 w 183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84">
                  <a:moveTo>
                    <a:pt x="0" y="191"/>
                  </a:moveTo>
                  <a:lnTo>
                    <a:pt x="183" y="284"/>
                  </a:lnTo>
                  <a:lnTo>
                    <a:pt x="183" y="93"/>
                  </a:lnTo>
                  <a:lnTo>
                    <a:pt x="0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9" name="Freeform 440">
              <a:extLst>
                <a:ext uri="{FF2B5EF4-FFF2-40B4-BE49-F238E27FC236}">
                  <a16:creationId xmlns:a16="http://schemas.microsoft.com/office/drawing/2014/main" id="{5CC1B550-4E51-63F4-5F0F-0F65A28A4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6" y="5681663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2 h 19"/>
                <a:gd name="T4" fmla="*/ 20 w 39"/>
                <a:gd name="T5" fmla="*/ 19 h 19"/>
                <a:gd name="T6" fmla="*/ 0 w 39"/>
                <a:gd name="T7" fmla="*/ 12 h 19"/>
                <a:gd name="T8" fmla="*/ 0 w 39"/>
                <a:gd name="T9" fmla="*/ 0 h 19"/>
                <a:gd name="T10" fmla="*/ 20 w 39"/>
                <a:gd name="T11" fmla="*/ 6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6"/>
                    <a:pt x="30" y="19"/>
                    <a:pt x="20" y="19"/>
                  </a:cubicBezTo>
                  <a:cubicBezTo>
                    <a:pt x="9" y="19"/>
                    <a:pt x="0" y="16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9" y="6"/>
                    <a:pt x="20" y="6"/>
                  </a:cubicBezTo>
                  <a:cubicBezTo>
                    <a:pt x="30" y="6"/>
                    <a:pt x="39" y="3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0" name="Oval 441">
              <a:extLst>
                <a:ext uri="{FF2B5EF4-FFF2-40B4-BE49-F238E27FC236}">
                  <a16:creationId xmlns:a16="http://schemas.microsoft.com/office/drawing/2014/main" id="{6A5D2F95-5FF3-06EC-7015-0B9996A9EB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326" y="5654675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1" name="Freeform 442">
              <a:extLst>
                <a:ext uri="{FF2B5EF4-FFF2-40B4-BE49-F238E27FC236}">
                  <a16:creationId xmlns:a16="http://schemas.microsoft.com/office/drawing/2014/main" id="{4F87D080-01BB-1272-83A2-AC8299CB3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451" y="5605463"/>
              <a:ext cx="142875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30" y="20"/>
                    <a:pt x="19" y="20"/>
                  </a:cubicBezTo>
                  <a:cubicBezTo>
                    <a:pt x="9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2" name="Oval 443">
              <a:extLst>
                <a:ext uri="{FF2B5EF4-FFF2-40B4-BE49-F238E27FC236}">
                  <a16:creationId xmlns:a16="http://schemas.microsoft.com/office/drawing/2014/main" id="{422CF059-D29D-78CB-64E5-2E74914AB5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51" y="5583238"/>
              <a:ext cx="142875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3" name="Freeform 444">
              <a:extLst>
                <a:ext uri="{FF2B5EF4-FFF2-40B4-BE49-F238E27FC236}">
                  <a16:creationId xmlns:a16="http://schemas.microsoft.com/office/drawing/2014/main" id="{5E3BC38A-CFA9-4D48-D3CB-EC21AFC279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534025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3 h 19"/>
                <a:gd name="T4" fmla="*/ 19 w 39"/>
                <a:gd name="T5" fmla="*/ 19 h 19"/>
                <a:gd name="T6" fmla="*/ 0 w 39"/>
                <a:gd name="T7" fmla="*/ 13 h 19"/>
                <a:gd name="T8" fmla="*/ 0 w 39"/>
                <a:gd name="T9" fmla="*/ 0 h 19"/>
                <a:gd name="T10" fmla="*/ 19 w 39"/>
                <a:gd name="T11" fmla="*/ 7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3"/>
                    <a:pt x="39" y="13"/>
                    <a:pt x="39" y="13"/>
                  </a:cubicBezTo>
                  <a:cubicBezTo>
                    <a:pt x="39" y="17"/>
                    <a:pt x="30" y="19"/>
                    <a:pt x="19" y="19"/>
                  </a:cubicBezTo>
                  <a:cubicBezTo>
                    <a:pt x="9" y="19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9" y="4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4" name="Oval 445">
              <a:extLst>
                <a:ext uri="{FF2B5EF4-FFF2-40B4-BE49-F238E27FC236}">
                  <a16:creationId xmlns:a16="http://schemas.microsoft.com/office/drawing/2014/main" id="{E80EB247-7C52-50AD-D608-FBDB413658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6538" y="5511800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5" name="Freeform 446">
              <a:extLst>
                <a:ext uri="{FF2B5EF4-FFF2-40B4-BE49-F238E27FC236}">
                  <a16:creationId xmlns:a16="http://schemas.microsoft.com/office/drawing/2014/main" id="{BA668DA2-9223-89DF-BCCE-7CC865BF6A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176" y="5605463"/>
              <a:ext cx="144463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29" y="20"/>
                    <a:pt x="19" y="20"/>
                  </a:cubicBezTo>
                  <a:cubicBezTo>
                    <a:pt x="8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8" y="7"/>
                    <a:pt x="19" y="7"/>
                  </a:cubicBezTo>
                  <a:cubicBezTo>
                    <a:pt x="29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6" name="Oval 447">
              <a:extLst>
                <a:ext uri="{FF2B5EF4-FFF2-40B4-BE49-F238E27FC236}">
                  <a16:creationId xmlns:a16="http://schemas.microsoft.com/office/drawing/2014/main" id="{89A41716-6E31-F4F0-6693-8FA8509B78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176" y="5583238"/>
              <a:ext cx="144463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9862FDD8-CE62-2123-B432-2A8092D3D11C}"/>
              </a:ext>
            </a:extLst>
          </p:cNvPr>
          <p:cNvGrpSpPr/>
          <p:nvPr/>
        </p:nvGrpSpPr>
        <p:grpSpPr>
          <a:xfrm>
            <a:off x="4117261" y="4939738"/>
            <a:ext cx="336080" cy="292993"/>
            <a:chOff x="1216026" y="5511800"/>
            <a:chExt cx="681038" cy="593725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98" name="Freeform 437">
              <a:extLst>
                <a:ext uri="{FF2B5EF4-FFF2-40B4-BE49-F238E27FC236}">
                  <a16:creationId xmlns:a16="http://schemas.microsoft.com/office/drawing/2014/main" id="{28C4C2DE-733B-093F-0A43-3F77C70DF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511800"/>
              <a:ext cx="681038" cy="593725"/>
            </a:xfrm>
            <a:custGeom>
              <a:avLst/>
              <a:gdLst>
                <a:gd name="T0" fmla="*/ 245 w 429"/>
                <a:gd name="T1" fmla="*/ 0 h 374"/>
                <a:gd name="T2" fmla="*/ 0 w 429"/>
                <a:gd name="T3" fmla="*/ 90 h 374"/>
                <a:gd name="T4" fmla="*/ 0 w 429"/>
                <a:gd name="T5" fmla="*/ 281 h 374"/>
                <a:gd name="T6" fmla="*/ 183 w 429"/>
                <a:gd name="T7" fmla="*/ 374 h 374"/>
                <a:gd name="T8" fmla="*/ 429 w 429"/>
                <a:gd name="T9" fmla="*/ 281 h 374"/>
                <a:gd name="T10" fmla="*/ 429 w 429"/>
                <a:gd name="T11" fmla="*/ 90 h 374"/>
                <a:gd name="T12" fmla="*/ 245 w 429"/>
                <a:gd name="T13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9" h="374">
                  <a:moveTo>
                    <a:pt x="245" y="0"/>
                  </a:moveTo>
                  <a:lnTo>
                    <a:pt x="0" y="90"/>
                  </a:lnTo>
                  <a:lnTo>
                    <a:pt x="0" y="281"/>
                  </a:lnTo>
                  <a:lnTo>
                    <a:pt x="183" y="374"/>
                  </a:lnTo>
                  <a:lnTo>
                    <a:pt x="429" y="281"/>
                  </a:lnTo>
                  <a:lnTo>
                    <a:pt x="429" y="90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9" name="Freeform 438">
              <a:extLst>
                <a:ext uri="{FF2B5EF4-FFF2-40B4-BE49-F238E27FC236}">
                  <a16:creationId xmlns:a16="http://schemas.microsoft.com/office/drawing/2014/main" id="{B1DC3D72-43BD-A957-073D-673209D64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654675"/>
              <a:ext cx="390525" cy="450850"/>
            </a:xfrm>
            <a:custGeom>
              <a:avLst/>
              <a:gdLst>
                <a:gd name="T0" fmla="*/ 246 w 246"/>
                <a:gd name="T1" fmla="*/ 191 h 284"/>
                <a:gd name="T2" fmla="*/ 0 w 246"/>
                <a:gd name="T3" fmla="*/ 284 h 284"/>
                <a:gd name="T4" fmla="*/ 0 w 246"/>
                <a:gd name="T5" fmla="*/ 93 h 284"/>
                <a:gd name="T6" fmla="*/ 246 w 246"/>
                <a:gd name="T7" fmla="*/ 0 h 284"/>
                <a:gd name="T8" fmla="*/ 246 w 246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84">
                  <a:moveTo>
                    <a:pt x="246" y="191"/>
                  </a:moveTo>
                  <a:lnTo>
                    <a:pt x="0" y="284"/>
                  </a:lnTo>
                  <a:lnTo>
                    <a:pt x="0" y="93"/>
                  </a:lnTo>
                  <a:lnTo>
                    <a:pt x="246" y="0"/>
                  </a:lnTo>
                  <a:lnTo>
                    <a:pt x="246" y="191"/>
                  </a:ln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0" name="Freeform 439">
              <a:extLst>
                <a:ext uri="{FF2B5EF4-FFF2-40B4-BE49-F238E27FC236}">
                  <a16:creationId xmlns:a16="http://schemas.microsoft.com/office/drawing/2014/main" id="{9466F2D9-0354-9DDF-1423-A6A901595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654675"/>
              <a:ext cx="290513" cy="450850"/>
            </a:xfrm>
            <a:custGeom>
              <a:avLst/>
              <a:gdLst>
                <a:gd name="T0" fmla="*/ 0 w 183"/>
                <a:gd name="T1" fmla="*/ 191 h 284"/>
                <a:gd name="T2" fmla="*/ 183 w 183"/>
                <a:gd name="T3" fmla="*/ 284 h 284"/>
                <a:gd name="T4" fmla="*/ 183 w 183"/>
                <a:gd name="T5" fmla="*/ 93 h 284"/>
                <a:gd name="T6" fmla="*/ 0 w 183"/>
                <a:gd name="T7" fmla="*/ 0 h 284"/>
                <a:gd name="T8" fmla="*/ 0 w 183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84">
                  <a:moveTo>
                    <a:pt x="0" y="191"/>
                  </a:moveTo>
                  <a:lnTo>
                    <a:pt x="183" y="284"/>
                  </a:lnTo>
                  <a:lnTo>
                    <a:pt x="183" y="93"/>
                  </a:lnTo>
                  <a:lnTo>
                    <a:pt x="0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1" name="Freeform 440">
              <a:extLst>
                <a:ext uri="{FF2B5EF4-FFF2-40B4-BE49-F238E27FC236}">
                  <a16:creationId xmlns:a16="http://schemas.microsoft.com/office/drawing/2014/main" id="{E222BD03-91F7-B915-A0A4-06C7946CCE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6" y="5681663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2 h 19"/>
                <a:gd name="T4" fmla="*/ 20 w 39"/>
                <a:gd name="T5" fmla="*/ 19 h 19"/>
                <a:gd name="T6" fmla="*/ 0 w 39"/>
                <a:gd name="T7" fmla="*/ 12 h 19"/>
                <a:gd name="T8" fmla="*/ 0 w 39"/>
                <a:gd name="T9" fmla="*/ 0 h 19"/>
                <a:gd name="T10" fmla="*/ 20 w 39"/>
                <a:gd name="T11" fmla="*/ 6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6"/>
                    <a:pt x="30" y="19"/>
                    <a:pt x="20" y="19"/>
                  </a:cubicBezTo>
                  <a:cubicBezTo>
                    <a:pt x="9" y="19"/>
                    <a:pt x="0" y="16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9" y="6"/>
                    <a:pt x="20" y="6"/>
                  </a:cubicBezTo>
                  <a:cubicBezTo>
                    <a:pt x="30" y="6"/>
                    <a:pt x="39" y="3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2" name="Oval 441">
              <a:extLst>
                <a:ext uri="{FF2B5EF4-FFF2-40B4-BE49-F238E27FC236}">
                  <a16:creationId xmlns:a16="http://schemas.microsoft.com/office/drawing/2014/main" id="{4EA031B9-3155-215A-C51B-B299AF4B52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326" y="5654675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3" name="Freeform 442">
              <a:extLst>
                <a:ext uri="{FF2B5EF4-FFF2-40B4-BE49-F238E27FC236}">
                  <a16:creationId xmlns:a16="http://schemas.microsoft.com/office/drawing/2014/main" id="{A02E384B-3D0E-76EF-3E4D-7344DA7B6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451" y="5605463"/>
              <a:ext cx="142875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30" y="20"/>
                    <a:pt x="19" y="20"/>
                  </a:cubicBezTo>
                  <a:cubicBezTo>
                    <a:pt x="9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4" name="Oval 443">
              <a:extLst>
                <a:ext uri="{FF2B5EF4-FFF2-40B4-BE49-F238E27FC236}">
                  <a16:creationId xmlns:a16="http://schemas.microsoft.com/office/drawing/2014/main" id="{6E6F0CD1-D2F3-6622-D29D-51C4F0CF7D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51" y="5583238"/>
              <a:ext cx="142875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5" name="Freeform 444">
              <a:extLst>
                <a:ext uri="{FF2B5EF4-FFF2-40B4-BE49-F238E27FC236}">
                  <a16:creationId xmlns:a16="http://schemas.microsoft.com/office/drawing/2014/main" id="{3AA4D68D-35AB-887C-CA56-D56A1C82E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534025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3 h 19"/>
                <a:gd name="T4" fmla="*/ 19 w 39"/>
                <a:gd name="T5" fmla="*/ 19 h 19"/>
                <a:gd name="T6" fmla="*/ 0 w 39"/>
                <a:gd name="T7" fmla="*/ 13 h 19"/>
                <a:gd name="T8" fmla="*/ 0 w 39"/>
                <a:gd name="T9" fmla="*/ 0 h 19"/>
                <a:gd name="T10" fmla="*/ 19 w 39"/>
                <a:gd name="T11" fmla="*/ 7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3"/>
                    <a:pt x="39" y="13"/>
                    <a:pt x="39" y="13"/>
                  </a:cubicBezTo>
                  <a:cubicBezTo>
                    <a:pt x="39" y="17"/>
                    <a:pt x="30" y="19"/>
                    <a:pt x="19" y="19"/>
                  </a:cubicBezTo>
                  <a:cubicBezTo>
                    <a:pt x="9" y="19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9" y="4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6" name="Oval 445">
              <a:extLst>
                <a:ext uri="{FF2B5EF4-FFF2-40B4-BE49-F238E27FC236}">
                  <a16:creationId xmlns:a16="http://schemas.microsoft.com/office/drawing/2014/main" id="{A1C4E6E8-A7AA-6A63-C92E-B318FA8503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6538" y="5511800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7" name="Freeform 446">
              <a:extLst>
                <a:ext uri="{FF2B5EF4-FFF2-40B4-BE49-F238E27FC236}">
                  <a16:creationId xmlns:a16="http://schemas.microsoft.com/office/drawing/2014/main" id="{DDBC6D82-DED2-591E-5162-7804AE4B3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176" y="5605463"/>
              <a:ext cx="144463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29" y="20"/>
                    <a:pt x="19" y="20"/>
                  </a:cubicBezTo>
                  <a:cubicBezTo>
                    <a:pt x="8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8" y="7"/>
                    <a:pt x="19" y="7"/>
                  </a:cubicBezTo>
                  <a:cubicBezTo>
                    <a:pt x="29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8" name="Oval 447">
              <a:extLst>
                <a:ext uri="{FF2B5EF4-FFF2-40B4-BE49-F238E27FC236}">
                  <a16:creationId xmlns:a16="http://schemas.microsoft.com/office/drawing/2014/main" id="{768B3CE9-73D1-E146-3C51-554DEBAC5F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176" y="5583238"/>
              <a:ext cx="144463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EC12E40F-614B-EC9E-8178-B02EE98465A8}"/>
              </a:ext>
            </a:extLst>
          </p:cNvPr>
          <p:cNvGrpSpPr/>
          <p:nvPr/>
        </p:nvGrpSpPr>
        <p:grpSpPr>
          <a:xfrm>
            <a:off x="3484756" y="3457764"/>
            <a:ext cx="336080" cy="292993"/>
            <a:chOff x="1216026" y="5511800"/>
            <a:chExt cx="681038" cy="593725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10" name="Freeform 437">
              <a:extLst>
                <a:ext uri="{FF2B5EF4-FFF2-40B4-BE49-F238E27FC236}">
                  <a16:creationId xmlns:a16="http://schemas.microsoft.com/office/drawing/2014/main" id="{26AFF40E-4231-DD62-F35C-CDFD7CBAB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511800"/>
              <a:ext cx="681038" cy="593725"/>
            </a:xfrm>
            <a:custGeom>
              <a:avLst/>
              <a:gdLst>
                <a:gd name="T0" fmla="*/ 245 w 429"/>
                <a:gd name="T1" fmla="*/ 0 h 374"/>
                <a:gd name="T2" fmla="*/ 0 w 429"/>
                <a:gd name="T3" fmla="*/ 90 h 374"/>
                <a:gd name="T4" fmla="*/ 0 w 429"/>
                <a:gd name="T5" fmla="*/ 281 h 374"/>
                <a:gd name="T6" fmla="*/ 183 w 429"/>
                <a:gd name="T7" fmla="*/ 374 h 374"/>
                <a:gd name="T8" fmla="*/ 429 w 429"/>
                <a:gd name="T9" fmla="*/ 281 h 374"/>
                <a:gd name="T10" fmla="*/ 429 w 429"/>
                <a:gd name="T11" fmla="*/ 90 h 374"/>
                <a:gd name="T12" fmla="*/ 245 w 429"/>
                <a:gd name="T13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9" h="374">
                  <a:moveTo>
                    <a:pt x="245" y="0"/>
                  </a:moveTo>
                  <a:lnTo>
                    <a:pt x="0" y="90"/>
                  </a:lnTo>
                  <a:lnTo>
                    <a:pt x="0" y="281"/>
                  </a:lnTo>
                  <a:lnTo>
                    <a:pt x="183" y="374"/>
                  </a:lnTo>
                  <a:lnTo>
                    <a:pt x="429" y="281"/>
                  </a:lnTo>
                  <a:lnTo>
                    <a:pt x="429" y="90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1" name="Freeform 438">
              <a:extLst>
                <a:ext uri="{FF2B5EF4-FFF2-40B4-BE49-F238E27FC236}">
                  <a16:creationId xmlns:a16="http://schemas.microsoft.com/office/drawing/2014/main" id="{6B4B4186-FF40-DD50-0C8E-E66178626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654675"/>
              <a:ext cx="390525" cy="450850"/>
            </a:xfrm>
            <a:custGeom>
              <a:avLst/>
              <a:gdLst>
                <a:gd name="T0" fmla="*/ 246 w 246"/>
                <a:gd name="T1" fmla="*/ 191 h 284"/>
                <a:gd name="T2" fmla="*/ 0 w 246"/>
                <a:gd name="T3" fmla="*/ 284 h 284"/>
                <a:gd name="T4" fmla="*/ 0 w 246"/>
                <a:gd name="T5" fmla="*/ 93 h 284"/>
                <a:gd name="T6" fmla="*/ 246 w 246"/>
                <a:gd name="T7" fmla="*/ 0 h 284"/>
                <a:gd name="T8" fmla="*/ 246 w 246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84">
                  <a:moveTo>
                    <a:pt x="246" y="191"/>
                  </a:moveTo>
                  <a:lnTo>
                    <a:pt x="0" y="284"/>
                  </a:lnTo>
                  <a:lnTo>
                    <a:pt x="0" y="93"/>
                  </a:lnTo>
                  <a:lnTo>
                    <a:pt x="246" y="0"/>
                  </a:lnTo>
                  <a:lnTo>
                    <a:pt x="246" y="191"/>
                  </a:ln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2" name="Freeform 439">
              <a:extLst>
                <a:ext uri="{FF2B5EF4-FFF2-40B4-BE49-F238E27FC236}">
                  <a16:creationId xmlns:a16="http://schemas.microsoft.com/office/drawing/2014/main" id="{EB3495A8-6402-83B3-8E79-2C35670C6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654675"/>
              <a:ext cx="290513" cy="450850"/>
            </a:xfrm>
            <a:custGeom>
              <a:avLst/>
              <a:gdLst>
                <a:gd name="T0" fmla="*/ 0 w 183"/>
                <a:gd name="T1" fmla="*/ 191 h 284"/>
                <a:gd name="T2" fmla="*/ 183 w 183"/>
                <a:gd name="T3" fmla="*/ 284 h 284"/>
                <a:gd name="T4" fmla="*/ 183 w 183"/>
                <a:gd name="T5" fmla="*/ 93 h 284"/>
                <a:gd name="T6" fmla="*/ 0 w 183"/>
                <a:gd name="T7" fmla="*/ 0 h 284"/>
                <a:gd name="T8" fmla="*/ 0 w 183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84">
                  <a:moveTo>
                    <a:pt x="0" y="191"/>
                  </a:moveTo>
                  <a:lnTo>
                    <a:pt x="183" y="284"/>
                  </a:lnTo>
                  <a:lnTo>
                    <a:pt x="183" y="93"/>
                  </a:lnTo>
                  <a:lnTo>
                    <a:pt x="0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3" name="Freeform 440">
              <a:extLst>
                <a:ext uri="{FF2B5EF4-FFF2-40B4-BE49-F238E27FC236}">
                  <a16:creationId xmlns:a16="http://schemas.microsoft.com/office/drawing/2014/main" id="{30314B60-3ADB-3E28-6DC0-3347B6E7A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6" y="5681663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2 h 19"/>
                <a:gd name="T4" fmla="*/ 20 w 39"/>
                <a:gd name="T5" fmla="*/ 19 h 19"/>
                <a:gd name="T6" fmla="*/ 0 w 39"/>
                <a:gd name="T7" fmla="*/ 12 h 19"/>
                <a:gd name="T8" fmla="*/ 0 w 39"/>
                <a:gd name="T9" fmla="*/ 0 h 19"/>
                <a:gd name="T10" fmla="*/ 20 w 39"/>
                <a:gd name="T11" fmla="*/ 6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6"/>
                    <a:pt x="30" y="19"/>
                    <a:pt x="20" y="19"/>
                  </a:cubicBezTo>
                  <a:cubicBezTo>
                    <a:pt x="9" y="19"/>
                    <a:pt x="0" y="16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9" y="6"/>
                    <a:pt x="20" y="6"/>
                  </a:cubicBezTo>
                  <a:cubicBezTo>
                    <a:pt x="30" y="6"/>
                    <a:pt x="39" y="3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4" name="Oval 441">
              <a:extLst>
                <a:ext uri="{FF2B5EF4-FFF2-40B4-BE49-F238E27FC236}">
                  <a16:creationId xmlns:a16="http://schemas.microsoft.com/office/drawing/2014/main" id="{F5A0E99E-901C-15D9-59A6-1FB6511844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326" y="5654675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5" name="Freeform 442">
              <a:extLst>
                <a:ext uri="{FF2B5EF4-FFF2-40B4-BE49-F238E27FC236}">
                  <a16:creationId xmlns:a16="http://schemas.microsoft.com/office/drawing/2014/main" id="{43A65F1D-90AB-3ED7-FCA2-44B0E370B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451" y="5605463"/>
              <a:ext cx="142875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30" y="20"/>
                    <a:pt x="19" y="20"/>
                  </a:cubicBezTo>
                  <a:cubicBezTo>
                    <a:pt x="9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6" name="Oval 443">
              <a:extLst>
                <a:ext uri="{FF2B5EF4-FFF2-40B4-BE49-F238E27FC236}">
                  <a16:creationId xmlns:a16="http://schemas.microsoft.com/office/drawing/2014/main" id="{CC6836EB-85C4-25C2-19D6-6A03EB9415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51" y="5583238"/>
              <a:ext cx="142875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7" name="Freeform 444">
              <a:extLst>
                <a:ext uri="{FF2B5EF4-FFF2-40B4-BE49-F238E27FC236}">
                  <a16:creationId xmlns:a16="http://schemas.microsoft.com/office/drawing/2014/main" id="{8A285AB8-9B03-CF2D-A37F-5F1633988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534025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3 h 19"/>
                <a:gd name="T4" fmla="*/ 19 w 39"/>
                <a:gd name="T5" fmla="*/ 19 h 19"/>
                <a:gd name="T6" fmla="*/ 0 w 39"/>
                <a:gd name="T7" fmla="*/ 13 h 19"/>
                <a:gd name="T8" fmla="*/ 0 w 39"/>
                <a:gd name="T9" fmla="*/ 0 h 19"/>
                <a:gd name="T10" fmla="*/ 19 w 39"/>
                <a:gd name="T11" fmla="*/ 7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3"/>
                    <a:pt x="39" y="13"/>
                    <a:pt x="39" y="13"/>
                  </a:cubicBezTo>
                  <a:cubicBezTo>
                    <a:pt x="39" y="17"/>
                    <a:pt x="30" y="19"/>
                    <a:pt x="19" y="19"/>
                  </a:cubicBezTo>
                  <a:cubicBezTo>
                    <a:pt x="9" y="19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9" y="4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8" name="Oval 445">
              <a:extLst>
                <a:ext uri="{FF2B5EF4-FFF2-40B4-BE49-F238E27FC236}">
                  <a16:creationId xmlns:a16="http://schemas.microsoft.com/office/drawing/2014/main" id="{9C64393D-716B-B401-FB44-CE8DE16E34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6538" y="5511800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9" name="Freeform 446">
              <a:extLst>
                <a:ext uri="{FF2B5EF4-FFF2-40B4-BE49-F238E27FC236}">
                  <a16:creationId xmlns:a16="http://schemas.microsoft.com/office/drawing/2014/main" id="{6E89B38F-8812-A4BC-BA91-2472FBFD4C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176" y="5605463"/>
              <a:ext cx="144463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29" y="20"/>
                    <a:pt x="19" y="20"/>
                  </a:cubicBezTo>
                  <a:cubicBezTo>
                    <a:pt x="8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8" y="7"/>
                    <a:pt x="19" y="7"/>
                  </a:cubicBezTo>
                  <a:cubicBezTo>
                    <a:pt x="29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0" name="Oval 447">
              <a:extLst>
                <a:ext uri="{FF2B5EF4-FFF2-40B4-BE49-F238E27FC236}">
                  <a16:creationId xmlns:a16="http://schemas.microsoft.com/office/drawing/2014/main" id="{CF4AF33D-B745-DDFD-93EA-59AFEA96F4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176" y="5583238"/>
              <a:ext cx="144463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805456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ABE3CF-DA2D-770A-F256-B43B1D1DD4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C4F4ECC-8352-31A6-70AA-C0959636CB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7F8E24-5AF2-2DF4-BB83-AA237E3F08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D49E882D-F587-96DD-148B-43A205647515}"/>
              </a:ext>
            </a:extLst>
          </p:cNvPr>
          <p:cNvSpPr/>
          <p:nvPr/>
        </p:nvSpPr>
        <p:spPr>
          <a:xfrm>
            <a:off x="0" y="4470400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998C9739-70C9-3332-99D3-CFB97D53015A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ED21628F-634E-F3B5-5F79-E939B42E767B}"/>
              </a:ext>
            </a:extLst>
          </p:cNvPr>
          <p:cNvSpPr/>
          <p:nvPr/>
        </p:nvSpPr>
        <p:spPr>
          <a:xfrm>
            <a:off x="807538" y="1090922"/>
            <a:ext cx="6833921" cy="4811124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13798B9-75FE-645C-12A1-275F3F57BD8C}"/>
              </a:ext>
            </a:extLst>
          </p:cNvPr>
          <p:cNvSpPr/>
          <p:nvPr/>
        </p:nvSpPr>
        <p:spPr>
          <a:xfrm>
            <a:off x="1104477" y="0"/>
            <a:ext cx="1175537" cy="731829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5EB09FB-AE23-FC87-80A1-0FAA1EA90A25}"/>
              </a:ext>
            </a:extLst>
          </p:cNvPr>
          <p:cNvSpPr/>
          <p:nvPr/>
        </p:nvSpPr>
        <p:spPr>
          <a:xfrm>
            <a:off x="1104477" y="22128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14833315-4B2A-9479-03CB-9DB07940E787}"/>
              </a:ext>
            </a:extLst>
          </p:cNvPr>
          <p:cNvSpPr/>
          <p:nvPr/>
        </p:nvSpPr>
        <p:spPr>
          <a:xfrm>
            <a:off x="1327287" y="4650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41C8BB65-E1B4-36B5-D241-513F3D3B7B5C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48C59F0E-20F8-3002-744F-D415162EE103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44B1EBCE-86AE-EEC8-154D-F9708F17D748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FC92E5A4-4F90-42B5-DD2C-7EB48846E9E8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87D9E816-3253-9302-62A8-A32704B97181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2D069614-BB8D-9B3A-EAF7-5718CD56F2F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E2920C98-B369-3275-FA9B-63C2A95A6BC0}"/>
              </a:ext>
            </a:extLst>
          </p:cNvPr>
          <p:cNvSpPr/>
          <p:nvPr/>
        </p:nvSpPr>
        <p:spPr>
          <a:xfrm>
            <a:off x="6869971" y="1318849"/>
            <a:ext cx="5344729" cy="4125876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8719EA-1894-1BB8-EC56-D260D71F0C43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B74586D-0BD2-5190-A6CE-94723F2216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75C8609-FF58-2588-CAE3-99980F7934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F8195AE-64F4-4127-FB71-AC4F3F72E2D6}"/>
              </a:ext>
            </a:extLst>
          </p:cNvPr>
          <p:cNvGrpSpPr/>
          <p:nvPr/>
        </p:nvGrpSpPr>
        <p:grpSpPr>
          <a:xfrm>
            <a:off x="1438227" y="625058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4ED0EA16-A1A5-0546-7E93-E3402EF5F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F4D0AC8C-CA7D-90F4-2A76-9CC2C18C9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8EA7D75C-1C76-16B2-956E-5DB60C250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DFDE144F-2121-E282-515A-2A460AFE9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305534B1-D278-3E97-CE5D-297B7F4443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847FA94D-8F0F-3F00-9642-F0FB30739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8D79656-3FF7-5D40-ED8C-11E2165773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36141112-0D9C-6DBD-41C8-F7E5BFBB14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4055E42D-CEFF-B199-EC8E-2FCF628621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027C9FF6-AAFA-9C9B-F9EE-D6A1A0975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40AB87AC-8F2A-4EC0-3359-84E925FC9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6FA912D0-3F78-8C2B-F78E-83BBC451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A8322756-F1AE-F224-F3C2-BE0DCC9B59B2}"/>
              </a:ext>
            </a:extLst>
          </p:cNvPr>
          <p:cNvSpPr txBox="1">
            <a:spLocks/>
          </p:cNvSpPr>
          <p:nvPr/>
        </p:nvSpPr>
        <p:spPr>
          <a:xfrm>
            <a:off x="1106091" y="2250706"/>
            <a:ext cx="5672459" cy="33923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Significant Effects Identified: 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Length (A): 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Strongly significant (p=0.000) 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Width (C): 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Strongly significant (p=0.000) (Effect = 20.50, p = 0.000)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Length * </a:t>
            </a:r>
            <a:r>
              <a:rPr lang="en-US" sz="2400" b="1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Tyre</a:t>
            </a: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 Size(AD):  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Statistically significant (p=0.030)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83B400F-3D5F-AB73-46A1-7D4596B97C78}"/>
              </a:ext>
            </a:extLst>
          </p:cNvPr>
          <p:cNvSpPr txBox="1">
            <a:spLocks/>
          </p:cNvSpPr>
          <p:nvPr/>
        </p:nvSpPr>
        <p:spPr>
          <a:xfrm>
            <a:off x="507546" y="5324286"/>
            <a:ext cx="9412179" cy="11319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6BBA5C5-5205-5723-9A0A-33CC6859AE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13979" y="1582686"/>
            <a:ext cx="4884505" cy="357751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9242DD0-73CE-8324-7551-AC2B0C6C01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68408" y="-41944"/>
            <a:ext cx="3123592" cy="1601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8412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F4A706-D368-3FC5-3CF9-18FC2AD03F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8A7F931-34EE-F3FE-CDD1-52DF84B11B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7F8E24-5AF2-2DF4-BB83-AA237E3F08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669731D5-F367-A928-7EA0-6E1DCD0AF394}"/>
              </a:ext>
            </a:extLst>
          </p:cNvPr>
          <p:cNvSpPr/>
          <p:nvPr/>
        </p:nvSpPr>
        <p:spPr>
          <a:xfrm>
            <a:off x="0" y="4470400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B29CEE66-10CF-843E-48AC-D928DE386732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0B0CF03D-0C43-9E95-5A47-853BFE58539B}"/>
              </a:ext>
            </a:extLst>
          </p:cNvPr>
          <p:cNvSpPr/>
          <p:nvPr/>
        </p:nvSpPr>
        <p:spPr>
          <a:xfrm>
            <a:off x="807538" y="1090922"/>
            <a:ext cx="6833921" cy="4811124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46A7DC2-D96A-86B6-C8FD-5D890EFD1A58}"/>
              </a:ext>
            </a:extLst>
          </p:cNvPr>
          <p:cNvSpPr/>
          <p:nvPr/>
        </p:nvSpPr>
        <p:spPr>
          <a:xfrm>
            <a:off x="1104477" y="0"/>
            <a:ext cx="1175537" cy="731829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4DF1DA1-D33C-9891-D65F-6554CDA04435}"/>
              </a:ext>
            </a:extLst>
          </p:cNvPr>
          <p:cNvSpPr/>
          <p:nvPr/>
        </p:nvSpPr>
        <p:spPr>
          <a:xfrm>
            <a:off x="1104477" y="22128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661F7B50-3C8B-E860-1D40-6D8181DD6D6E}"/>
              </a:ext>
            </a:extLst>
          </p:cNvPr>
          <p:cNvSpPr/>
          <p:nvPr/>
        </p:nvSpPr>
        <p:spPr>
          <a:xfrm>
            <a:off x="1327287" y="4650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A4DEEEE7-BB05-24D2-2071-FB9BEE9CB022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3D393306-6A07-CBFC-B5B8-5AA875A58C5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BCC32EF7-B3A2-E6F9-2DDF-B2EDD09CD3AA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04B7FBFE-2A99-CE79-8ACF-6E19A9F416A3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57EF6484-0259-228A-DF9C-CDD2B15BFBAF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99031562-E617-EECF-7F6F-1E34155363D2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D89F6123-4D41-0CBC-9C50-B53DABD3FD8D}"/>
              </a:ext>
            </a:extLst>
          </p:cNvPr>
          <p:cNvSpPr/>
          <p:nvPr/>
        </p:nvSpPr>
        <p:spPr>
          <a:xfrm>
            <a:off x="6558939" y="1318849"/>
            <a:ext cx="5655761" cy="4125876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048C399-0479-8BEA-BCF8-EE57D7130C0B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CE4239A-3F51-058D-3E45-F6D10CC93C41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6085949-F160-8F68-F6D2-B7B173AE20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E04918F-C93A-A21F-875E-B2EA00E36AB7}"/>
              </a:ext>
            </a:extLst>
          </p:cNvPr>
          <p:cNvGrpSpPr/>
          <p:nvPr/>
        </p:nvGrpSpPr>
        <p:grpSpPr>
          <a:xfrm>
            <a:off x="1438227" y="625058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557B05E4-4733-57FC-DC5C-A13EB1351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09257C31-98B0-D74C-A40D-3A5C16E2E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89BDEE5F-F8AC-7648-5EF8-F8E3526C9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ABEB640B-736B-7B49-817D-340CA0CB76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D36BC044-1B3D-4B49-2917-A03265DE0F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FA4DFE95-5391-4E46-B8FA-CA81B69C09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58394009-B138-1275-42B6-FDE45F669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D659F651-B780-B3AB-4D76-E53973BAB4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2309E5E7-E311-9105-9D6D-0070F9DCAA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8559A974-9511-66CF-C9D9-AB3708303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B4FF96E3-1F32-086A-68E2-6D3542EA9E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FE1271E1-2A2A-8776-3ADA-8F93D69A77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F2E4FBC9-BF00-6B97-1595-10E01A4FB269}"/>
              </a:ext>
            </a:extLst>
          </p:cNvPr>
          <p:cNvSpPr txBox="1">
            <a:spLocks/>
          </p:cNvSpPr>
          <p:nvPr/>
        </p:nvSpPr>
        <p:spPr>
          <a:xfrm>
            <a:off x="1111574" y="1862682"/>
            <a:ext cx="5465327" cy="34342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R-sq: 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73.85% -&gt; Strong proportion of the variability in the distance.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R-sq(adj): 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61.59% -&gt; Still shows decent model fit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R-sq(pred): 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41.16% -&gt; Moderate capability for predicting distance of new, untested design.</a:t>
            </a:r>
          </a:p>
        </p:txBody>
      </p:sp>
      <p:pic>
        <p:nvPicPr>
          <p:cNvPr id="2" name="Google Shape;100;p20">
            <a:extLst>
              <a:ext uri="{FF2B5EF4-FFF2-40B4-BE49-F238E27FC236}">
                <a16:creationId xmlns:a16="http://schemas.microsoft.com/office/drawing/2014/main" id="{E4D96EBE-3D82-D836-E90A-4B790E1F005A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7323449" y="1566305"/>
            <a:ext cx="4591684" cy="133309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94029CB5-C520-B297-2BC3-65401F17F57E}"/>
              </a:ext>
            </a:extLst>
          </p:cNvPr>
          <p:cNvSpPr txBox="1">
            <a:spLocks/>
          </p:cNvSpPr>
          <p:nvPr/>
        </p:nvSpPr>
        <p:spPr>
          <a:xfrm>
            <a:off x="1241090" y="5407292"/>
            <a:ext cx="9412179" cy="13326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INTERPRETATION: 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Good model fit, but potential for improvement in predictive performance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5B67E5-9113-49F8-4B9E-918FEA27E1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80937" y="3098509"/>
            <a:ext cx="5119481" cy="201253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AA5795E-89A9-4D50-918B-3FFCCDDEBD0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40523" y="7256"/>
            <a:ext cx="3591826" cy="1417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7884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7EADC3-1651-2384-FACD-0239817B93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7F8E24-5AF2-2DF4-BB83-AA237E3F08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74941406-25CB-2291-CB54-5FE84A9B3011}"/>
              </a:ext>
            </a:extLst>
          </p:cNvPr>
          <p:cNvSpPr/>
          <p:nvPr/>
        </p:nvSpPr>
        <p:spPr>
          <a:xfrm>
            <a:off x="0" y="4470400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5621F5A9-54A3-E1B5-3D2A-C57FA8AFAC14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F3A9DADC-D54E-CD59-3FB6-7E03C521B213}"/>
              </a:ext>
            </a:extLst>
          </p:cNvPr>
          <p:cNvSpPr/>
          <p:nvPr/>
        </p:nvSpPr>
        <p:spPr>
          <a:xfrm>
            <a:off x="807538" y="1090922"/>
            <a:ext cx="6833921" cy="4811124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643B3402-45AE-3BA6-A9E4-131C065EA74A}"/>
              </a:ext>
            </a:extLst>
          </p:cNvPr>
          <p:cNvSpPr/>
          <p:nvPr/>
        </p:nvSpPr>
        <p:spPr>
          <a:xfrm>
            <a:off x="1104477" y="0"/>
            <a:ext cx="1175537" cy="731829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A472DF9-EF21-B4E9-DA11-98A6F30C8103}"/>
              </a:ext>
            </a:extLst>
          </p:cNvPr>
          <p:cNvSpPr/>
          <p:nvPr/>
        </p:nvSpPr>
        <p:spPr>
          <a:xfrm>
            <a:off x="1104477" y="22128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1B997C-FA0F-60FE-2E6B-2028F68FF074}"/>
              </a:ext>
            </a:extLst>
          </p:cNvPr>
          <p:cNvSpPr/>
          <p:nvPr/>
        </p:nvSpPr>
        <p:spPr>
          <a:xfrm>
            <a:off x="1327287" y="4650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F2B6F8AF-179B-4BB8-889E-7BF6B4082B48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55A54CB4-F957-3248-5589-111CD4B74090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B229D125-2114-FB91-AD6B-8F58F4F2A8B2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9D607442-4499-F95B-B86D-F2161499608E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C862607A-BBC8-D1D6-FCC2-61FD151DF3DC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6F3EBD0A-4506-48BF-6477-E8793F592015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88330CB0-446D-9EC0-B49A-8828FCDEA538}"/>
              </a:ext>
            </a:extLst>
          </p:cNvPr>
          <p:cNvSpPr/>
          <p:nvPr/>
        </p:nvSpPr>
        <p:spPr>
          <a:xfrm>
            <a:off x="6558939" y="1318849"/>
            <a:ext cx="5655761" cy="4125876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6152E2C-44FC-132C-16FF-EDBEED087930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8B30A72-6F35-B9B3-B894-CDD3AA389151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4E334802-064D-924A-1876-1E9D202A2D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8</a:t>
            </a:fld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D4C4902-7D80-5D46-C86A-6AF5539B713C}"/>
              </a:ext>
            </a:extLst>
          </p:cNvPr>
          <p:cNvGrpSpPr/>
          <p:nvPr/>
        </p:nvGrpSpPr>
        <p:grpSpPr>
          <a:xfrm>
            <a:off x="1438227" y="625058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CB842F39-9EAC-B8F8-A868-89CC48D3F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8B270C34-F81F-C14D-FE57-2CC1CD579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52733597-88D8-7197-DD08-F2A1C3EF7D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9E3CC577-3568-10E0-C893-DD9CF6C55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1F8C3886-C278-7452-93EC-CA65BDF15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24F5A3E5-B965-8EC4-48DE-3F3F81C21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20B98263-3150-4AFE-162F-99E1674131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D9BF5541-9BD8-98CD-530E-7B7BC52E5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EC20826C-B8E5-C069-DAE6-BA30424F5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8B2F22C4-F7F2-3CDC-0D17-A3AAE2055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C344710F-59B3-ACEC-A4A1-B4DCDE2D0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F3E78663-AD8C-A37F-D3C7-67236667E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C930B5E0-C390-C2DF-A6AD-1C5B995C1745}"/>
              </a:ext>
            </a:extLst>
          </p:cNvPr>
          <p:cNvSpPr txBox="1">
            <a:spLocks/>
          </p:cNvSpPr>
          <p:nvPr/>
        </p:nvSpPr>
        <p:spPr>
          <a:xfrm>
            <a:off x="1104477" y="2311892"/>
            <a:ext cx="5465327" cy="29363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Significant Factors: 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Length (A), Width (C), and the interaction Length * </a:t>
            </a:r>
            <a:r>
              <a:rPr lang="en-US" sz="2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Tyre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 Size (AD) -&gt; Outside reference line -&gt; Statistical Significance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endParaRPr lang="en-US" sz="2400" i="1" dirty="0">
              <a:solidFill>
                <a:schemeClr val="tx1">
                  <a:lumMod val="75000"/>
                  <a:lumOff val="25000"/>
                </a:schemeClr>
              </a:solidFill>
              <a:latin typeface="AkayaKanadaka" panose="02010502080401010103" pitchFamily="2" charset="77"/>
              <a:ea typeface="Nanum Pen Script" panose="03040600000000000000" pitchFamily="66" charset="-127"/>
              <a:cs typeface="AkayaKanadaka" panose="02010502080401010103" pitchFamily="2" charset="77"/>
            </a:endParaRPr>
          </a:p>
        </p:txBody>
      </p:sp>
      <p:pic>
        <p:nvPicPr>
          <p:cNvPr id="20" name="Picture 19" descr="Effects Plot for Distance(cms)">
            <a:extLst>
              <a:ext uri="{FF2B5EF4-FFF2-40B4-BE49-F238E27FC236}">
                <a16:creationId xmlns:a16="http://schemas.microsoft.com/office/drawing/2014/main" id="{7D784926-9E0C-6340-9D0D-0B8FB3C2B5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8301" y="1523260"/>
            <a:ext cx="5486400" cy="3657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17763BE-9CFF-1BBD-26D4-2027A72F06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24057" y="-11141"/>
            <a:ext cx="3767943" cy="1341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3105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042133-4A44-D154-1737-435B0B013B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BBF3BB9-651D-AC97-B893-36CACF4D7C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8A7F931-34EE-F3FE-CDD1-52DF84B11B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729CEDF1-852F-FEA4-C1A4-18B541191100}"/>
              </a:ext>
            </a:extLst>
          </p:cNvPr>
          <p:cNvSpPr/>
          <p:nvPr/>
        </p:nvSpPr>
        <p:spPr>
          <a:xfrm>
            <a:off x="0" y="4470400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DFD29D5C-EA8E-D180-F984-DC88A0EC3284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5E5E57A1-EFCD-54CA-27DC-9739A954B158}"/>
              </a:ext>
            </a:extLst>
          </p:cNvPr>
          <p:cNvSpPr/>
          <p:nvPr/>
        </p:nvSpPr>
        <p:spPr>
          <a:xfrm>
            <a:off x="807538" y="1090922"/>
            <a:ext cx="6833921" cy="4811124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61A0C82-30AD-4663-4747-E71C65B5AA04}"/>
              </a:ext>
            </a:extLst>
          </p:cNvPr>
          <p:cNvSpPr/>
          <p:nvPr/>
        </p:nvSpPr>
        <p:spPr>
          <a:xfrm>
            <a:off x="1104477" y="0"/>
            <a:ext cx="1175537" cy="731829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C318A53-159C-4C80-10C6-50D72A1479EB}"/>
              </a:ext>
            </a:extLst>
          </p:cNvPr>
          <p:cNvSpPr/>
          <p:nvPr/>
        </p:nvSpPr>
        <p:spPr>
          <a:xfrm>
            <a:off x="1104477" y="22128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620A82D8-B22D-1615-2B5C-6FCAE5A22982}"/>
              </a:ext>
            </a:extLst>
          </p:cNvPr>
          <p:cNvSpPr/>
          <p:nvPr/>
        </p:nvSpPr>
        <p:spPr>
          <a:xfrm>
            <a:off x="1327287" y="4650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1BD1CE36-544C-C09E-04F4-96C449BBAA7E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32E3564F-F049-F8F8-DFDF-AB16AF8BFAE0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2C910F41-A6A9-A8F7-C344-5E17CF251B4C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61A3442-04D1-842A-A2FE-36C5EF99FC38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68A74993-B473-6C22-4218-4DC6D039F488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2767C2B8-0CE4-D8B7-BFC4-EC16426B78ED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BA065F2-0080-4A44-274A-A376C206139E}"/>
              </a:ext>
            </a:extLst>
          </p:cNvPr>
          <p:cNvSpPr/>
          <p:nvPr/>
        </p:nvSpPr>
        <p:spPr>
          <a:xfrm>
            <a:off x="6558939" y="1318848"/>
            <a:ext cx="5655761" cy="4622885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52978E6-23D9-4C56-B313-287FB0958CDC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A04FDA6-4D3E-F650-B307-4B05702A4451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06CD96E-6029-AA3C-9F22-20BFE0D665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E61E790-55DB-4F5F-60A1-6F1846A47CF9}"/>
              </a:ext>
            </a:extLst>
          </p:cNvPr>
          <p:cNvGrpSpPr/>
          <p:nvPr/>
        </p:nvGrpSpPr>
        <p:grpSpPr>
          <a:xfrm>
            <a:off x="1438227" y="625058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0C1ED67F-DFF0-B3B5-7AF2-269636260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191FDC28-AE57-8B65-E5DA-69D18C539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D0F3B1B5-FD37-5CBA-E6DF-94C9A2039D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95B4ED19-1243-8D51-6907-C1176585C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23906DD9-C2EF-C41D-6F08-F19D505AB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CA94B573-2F17-3920-3CB9-87A52A5E6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FC535EF4-289D-587E-FB27-1E04DF1CA1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AF96E22D-2498-0517-7C24-6EEC80821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893380CD-FF96-26E3-723D-23A2F7B402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9BF1BF76-FEA0-D33C-9C63-36F7F066D6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8EFB747D-2EFC-1317-E830-E5C2C39E4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35341EB4-7760-F7B8-0D63-6D7C30B24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82C526A7-DA96-85C8-5D47-F13D6AFF03BA}"/>
              </a:ext>
            </a:extLst>
          </p:cNvPr>
          <p:cNvSpPr txBox="1">
            <a:spLocks/>
          </p:cNvSpPr>
          <p:nvPr/>
        </p:nvSpPr>
        <p:spPr>
          <a:xfrm>
            <a:off x="866304" y="1950784"/>
            <a:ext cx="5655761" cy="33461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Normal Probability Plot: 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Points close to line -&gt; residuals are normally distributed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Residuals vs Fits: 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Random scatter around zero -&gt; constant variance 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Histogram: 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Belly shaped -&gt; Normality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Residuals vs Order: 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Points randomly scattered -&gt; Errors are independent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</a:pPr>
            <a:endParaRPr lang="en-US" sz="2800" i="1" dirty="0">
              <a:solidFill>
                <a:schemeClr val="tx1">
                  <a:lumMod val="75000"/>
                  <a:lumOff val="25000"/>
                </a:schemeClr>
              </a:solidFill>
              <a:latin typeface="Nanum Pen Script" panose="03040600000000000000" pitchFamily="66" charset="-127"/>
              <a:ea typeface="Nanum Pen Script" panose="03040600000000000000" pitchFamily="66" charset="-127"/>
              <a:cs typeface="Segoe UI" panose="020B0502040204020203" pitchFamily="34" charset="0"/>
            </a:endParaRPr>
          </a:p>
        </p:txBody>
      </p:sp>
      <p:pic>
        <p:nvPicPr>
          <p:cNvPr id="3" name="Google Shape;107;p21">
            <a:extLst>
              <a:ext uri="{FF2B5EF4-FFF2-40B4-BE49-F238E27FC236}">
                <a16:creationId xmlns:a16="http://schemas.microsoft.com/office/drawing/2014/main" id="{95E5255C-1B74-168E-34B7-7BD02CF36757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6878592" y="1648621"/>
            <a:ext cx="5143329" cy="388362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DC5ED03-E168-66EA-B08A-8CF7541F1BEA}"/>
              </a:ext>
            </a:extLst>
          </p:cNvPr>
          <p:cNvSpPr txBox="1">
            <a:spLocks/>
          </p:cNvSpPr>
          <p:nvPr/>
        </p:nvSpPr>
        <p:spPr>
          <a:xfrm>
            <a:off x="499990" y="5601451"/>
            <a:ext cx="9412179" cy="11319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CONCLUSION: 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kayaKanadaka" panose="02010502080401010103" pitchFamily="2" charset="77"/>
                <a:ea typeface="Nanum Pen Script" panose="03040600000000000000" pitchFamily="66" charset="-127"/>
                <a:cs typeface="AkayaKanadaka" panose="02010502080401010103" pitchFamily="2" charset="77"/>
              </a:rPr>
              <a:t>Suggests the model assumptions are adequately met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667697-265B-D352-FF73-F3184E172F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24057" y="-11141"/>
            <a:ext cx="3767943" cy="1341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306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YrUCN03eCDNc_P3yFC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3puCAADTYTw7_AXZsv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VmS22Qb6ywRIH2ydJm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jT.mStzAkxQnYwC94m9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gUDTVFP9DJhd2ENdLY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Egy2WGaKMRMxuq9KCA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jT.mStzAkxQnYwC94m9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72</TotalTime>
  <Words>589</Words>
  <Application>Microsoft Macintosh PowerPoint</Application>
  <PresentationFormat>Widescreen</PresentationFormat>
  <Paragraphs>129</Paragraphs>
  <Slides>16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Nanum Pen Script</vt:lpstr>
      <vt:lpstr>AkayaKanadaka</vt:lpstr>
      <vt:lpstr>Arial</vt:lpstr>
      <vt:lpstr>Calibri</vt:lpstr>
      <vt:lpstr>Calibri Light</vt:lpstr>
      <vt:lpstr>Segoe UI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3</dc:creator>
  <cp:lastModifiedBy>Vinit Vijaykumar Adke (Student)</cp:lastModifiedBy>
  <cp:revision>152</cp:revision>
  <dcterms:created xsi:type="dcterms:W3CDTF">2020-10-26T06:25:39Z</dcterms:created>
  <dcterms:modified xsi:type="dcterms:W3CDTF">2025-05-01T08:00:09Z</dcterms:modified>
</cp:coreProperties>
</file>